
<file path=[Content_Types].xml><?xml version="1.0" encoding="utf-8"?>
<Types xmlns="http://schemas.openxmlformats.org/package/2006/content-types">
  <Default Extension="mp3" ContentType="audio/mpeg"/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8" r:id="rId2"/>
  </p:sldMasterIdLst>
  <p:notesMasterIdLst>
    <p:notesMasterId r:id="rId8"/>
  </p:notesMasterIdLst>
  <p:sldIdLst>
    <p:sldId id="256" r:id="rId3"/>
    <p:sldId id="4299" r:id="rId4"/>
    <p:sldId id="4300" r:id="rId5"/>
    <p:sldId id="4302" r:id="rId6"/>
    <p:sldId id="4301" r:id="rId7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4DA6"/>
    <a:srgbClr val="44546A"/>
    <a:srgbClr val="FFF9CD"/>
    <a:srgbClr val="D6E3F6"/>
    <a:srgbClr val="22529A"/>
    <a:srgbClr val="FF8B00"/>
    <a:srgbClr val="FAA100"/>
    <a:srgbClr val="5ACEFF"/>
    <a:srgbClr val="0CBFFF"/>
    <a:srgbClr val="F1F1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68" d="100"/>
          <a:sy n="68" d="100"/>
        </p:scale>
        <p:origin x="568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 showGuides="1">
      <p:cViewPr varScale="1">
        <p:scale>
          <a:sx n="52" d="100"/>
          <a:sy n="52" d="100"/>
        </p:scale>
        <p:origin x="2088" y="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F00D20-7025-4F0A-88CF-0B999F7725BF}" type="datetimeFigureOut">
              <a:rPr lang="zh-CN" altLang="en-US" smtClean="0"/>
              <a:t>2021/1/1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3F291C-959A-4E8D-979E-9B70BFE63AA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84414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3F291C-959A-4E8D-979E-9B70BFE63AAE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991943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C4AC21-6C7F-48FA-872F-EF932270FB9E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94957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C4AC21-6C7F-48FA-872F-EF932270FB9E}" type="slidenum">
              <a:rPr lang="zh-CN" altLang="en-US" smtClean="0">
                <a:solidFill>
                  <a:prstClr val="black"/>
                </a:solidFill>
              </a:rPr>
              <a:t>3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85365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8F03C3-53C1-4F10-8DAF-D1F318E96C6E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898185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3F291C-959A-4E8D-979E-9B70BFE63AAE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940345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" name="图片占位符 5"/>
          <p:cNvSpPr>
            <a:spLocks noGrp="1"/>
          </p:cNvSpPr>
          <p:nvPr>
            <p:ph type="pic" sz="quarter" idx="10"/>
          </p:nvPr>
        </p:nvSpPr>
        <p:spPr>
          <a:xfrm>
            <a:off x="1" y="2"/>
            <a:ext cx="3875840" cy="5661947"/>
          </a:xfrm>
          <a:custGeom>
            <a:avLst/>
            <a:gdLst>
              <a:gd name="connsiteX0" fmla="*/ 0 w 3875840"/>
              <a:gd name="connsiteY0" fmla="*/ 0 h 5661947"/>
              <a:gd name="connsiteX1" fmla="*/ 2121846 w 3875840"/>
              <a:gd name="connsiteY1" fmla="*/ 0 h 5661947"/>
              <a:gd name="connsiteX2" fmla="*/ 3875840 w 3875840"/>
              <a:gd name="connsiteY2" fmla="*/ 1763999 h 5661947"/>
              <a:gd name="connsiteX3" fmla="*/ 0 w 3875840"/>
              <a:gd name="connsiteY3" fmla="*/ 5661947 h 5661947"/>
              <a:gd name="connsiteX4" fmla="*/ 0 w 3875840"/>
              <a:gd name="connsiteY4" fmla="*/ 2561290 h 5661947"/>
              <a:gd name="connsiteX5" fmla="*/ 792769 w 3875840"/>
              <a:gd name="connsiteY5" fmla="*/ 1763999 h 5661947"/>
              <a:gd name="connsiteX6" fmla="*/ 0 w 3875840"/>
              <a:gd name="connsiteY6" fmla="*/ 966708 h 5661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75840" h="5661947">
                <a:moveTo>
                  <a:pt x="0" y="0"/>
                </a:moveTo>
                <a:lnTo>
                  <a:pt x="2121846" y="0"/>
                </a:lnTo>
                <a:lnTo>
                  <a:pt x="3875840" y="1763999"/>
                </a:lnTo>
                <a:lnTo>
                  <a:pt x="0" y="5661947"/>
                </a:lnTo>
                <a:lnTo>
                  <a:pt x="0" y="2561290"/>
                </a:lnTo>
                <a:lnTo>
                  <a:pt x="792769" y="1763999"/>
                </a:lnTo>
                <a:lnTo>
                  <a:pt x="0" y="96670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" name="图片占位符 5"/>
          <p:cNvSpPr>
            <a:spLocks noGrp="1"/>
          </p:cNvSpPr>
          <p:nvPr>
            <p:ph type="pic" sz="quarter" idx="10"/>
          </p:nvPr>
        </p:nvSpPr>
        <p:spPr>
          <a:xfrm flipH="1">
            <a:off x="8316160" y="2"/>
            <a:ext cx="3875840" cy="5661947"/>
          </a:xfrm>
          <a:custGeom>
            <a:avLst/>
            <a:gdLst>
              <a:gd name="connsiteX0" fmla="*/ 0 w 3875840"/>
              <a:gd name="connsiteY0" fmla="*/ 0 h 5661947"/>
              <a:gd name="connsiteX1" fmla="*/ 2121846 w 3875840"/>
              <a:gd name="connsiteY1" fmla="*/ 0 h 5661947"/>
              <a:gd name="connsiteX2" fmla="*/ 3875840 w 3875840"/>
              <a:gd name="connsiteY2" fmla="*/ 1763999 h 5661947"/>
              <a:gd name="connsiteX3" fmla="*/ 0 w 3875840"/>
              <a:gd name="connsiteY3" fmla="*/ 5661947 h 5661947"/>
              <a:gd name="connsiteX4" fmla="*/ 0 w 3875840"/>
              <a:gd name="connsiteY4" fmla="*/ 2561290 h 5661947"/>
              <a:gd name="connsiteX5" fmla="*/ 792769 w 3875840"/>
              <a:gd name="connsiteY5" fmla="*/ 1763999 h 5661947"/>
              <a:gd name="connsiteX6" fmla="*/ 0 w 3875840"/>
              <a:gd name="connsiteY6" fmla="*/ 966708 h 5661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75840" h="5661947">
                <a:moveTo>
                  <a:pt x="0" y="0"/>
                </a:moveTo>
                <a:lnTo>
                  <a:pt x="2121846" y="0"/>
                </a:lnTo>
                <a:lnTo>
                  <a:pt x="3875840" y="1763999"/>
                </a:lnTo>
                <a:lnTo>
                  <a:pt x="0" y="5661947"/>
                </a:lnTo>
                <a:lnTo>
                  <a:pt x="0" y="2561290"/>
                </a:lnTo>
                <a:lnTo>
                  <a:pt x="792769" y="1763999"/>
                </a:lnTo>
                <a:lnTo>
                  <a:pt x="0" y="96670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" name="任意多边形: 形状 2"/>
          <p:cNvSpPr/>
          <p:nvPr userDrawn="1"/>
        </p:nvSpPr>
        <p:spPr>
          <a:xfrm>
            <a:off x="-7315198" y="-5753098"/>
            <a:ext cx="27050999" cy="20192999"/>
          </a:xfrm>
          <a:custGeom>
            <a:avLst/>
            <a:gdLst>
              <a:gd name="connsiteX0" fmla="*/ 7467599 w 27050999"/>
              <a:gd name="connsiteY0" fmla="*/ 5905499 h 20192999"/>
              <a:gd name="connsiteX1" fmla="*/ 7467599 w 27050999"/>
              <a:gd name="connsiteY1" fmla="*/ 12763499 h 20192999"/>
              <a:gd name="connsiteX2" fmla="*/ 19659599 w 27050999"/>
              <a:gd name="connsiteY2" fmla="*/ 12763499 h 20192999"/>
              <a:gd name="connsiteX3" fmla="*/ 19659599 w 27050999"/>
              <a:gd name="connsiteY3" fmla="*/ 5905499 h 20192999"/>
              <a:gd name="connsiteX4" fmla="*/ 0 w 27050999"/>
              <a:gd name="connsiteY4" fmla="*/ 0 h 20192999"/>
              <a:gd name="connsiteX5" fmla="*/ 27050999 w 27050999"/>
              <a:gd name="connsiteY5" fmla="*/ 0 h 20192999"/>
              <a:gd name="connsiteX6" fmla="*/ 27050999 w 27050999"/>
              <a:gd name="connsiteY6" fmla="*/ 20192999 h 20192999"/>
              <a:gd name="connsiteX7" fmla="*/ 0 w 27050999"/>
              <a:gd name="connsiteY7" fmla="*/ 20192999 h 20192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050999" h="20192999">
                <a:moveTo>
                  <a:pt x="7467599" y="5905499"/>
                </a:moveTo>
                <a:lnTo>
                  <a:pt x="7467599" y="12763499"/>
                </a:lnTo>
                <a:lnTo>
                  <a:pt x="19659599" y="12763499"/>
                </a:lnTo>
                <a:lnTo>
                  <a:pt x="19659599" y="5905499"/>
                </a:lnTo>
                <a:close/>
                <a:moveTo>
                  <a:pt x="0" y="0"/>
                </a:moveTo>
                <a:lnTo>
                  <a:pt x="27050999" y="0"/>
                </a:lnTo>
                <a:lnTo>
                  <a:pt x="27050999" y="20192999"/>
                </a:lnTo>
                <a:lnTo>
                  <a:pt x="0" y="20192999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图片占位符 8"/>
          <p:cNvSpPr>
            <a:spLocks noGrp="1"/>
          </p:cNvSpPr>
          <p:nvPr>
            <p:ph type="pic" sz="quarter" idx="10"/>
          </p:nvPr>
        </p:nvSpPr>
        <p:spPr>
          <a:xfrm>
            <a:off x="6324600" y="0"/>
            <a:ext cx="2990850" cy="68580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0">
        <p:fade/>
      </p:transition>
    </mc:Choice>
    <mc:Fallback xmlns="">
      <p:transition spd="med" advTm="0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图片占位符 10"/>
          <p:cNvSpPr>
            <a:spLocks noGrp="1"/>
          </p:cNvSpPr>
          <p:nvPr>
            <p:ph type="pic" sz="quarter" idx="10"/>
          </p:nvPr>
        </p:nvSpPr>
        <p:spPr>
          <a:xfrm>
            <a:off x="3053724" y="1755261"/>
            <a:ext cx="1746876" cy="1800000"/>
          </a:xfrm>
          <a:custGeom>
            <a:avLst/>
            <a:gdLst>
              <a:gd name="connsiteX0" fmla="*/ 900000 w 1746876"/>
              <a:gd name="connsiteY0" fmla="*/ 0 h 1800000"/>
              <a:gd name="connsiteX1" fmla="*/ 1746876 w 1746876"/>
              <a:gd name="connsiteY1" fmla="*/ 846876 h 1800000"/>
              <a:gd name="connsiteX2" fmla="*/ 1746876 w 1746876"/>
              <a:gd name="connsiteY2" fmla="*/ 953124 h 1800000"/>
              <a:gd name="connsiteX3" fmla="*/ 900000 w 1746876"/>
              <a:gd name="connsiteY3" fmla="*/ 1800000 h 1800000"/>
              <a:gd name="connsiteX4" fmla="*/ 0 w 1746876"/>
              <a:gd name="connsiteY4" fmla="*/ 900000 h 18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46876" h="1800000">
                <a:moveTo>
                  <a:pt x="900000" y="0"/>
                </a:moveTo>
                <a:lnTo>
                  <a:pt x="1746876" y="846876"/>
                </a:lnTo>
                <a:lnTo>
                  <a:pt x="1746876" y="953124"/>
                </a:lnTo>
                <a:lnTo>
                  <a:pt x="900000" y="1800000"/>
                </a:lnTo>
                <a:lnTo>
                  <a:pt x="0" y="900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2" name="图片占位符 11"/>
          <p:cNvSpPr>
            <a:spLocks noGrp="1"/>
          </p:cNvSpPr>
          <p:nvPr>
            <p:ph type="pic" sz="quarter" idx="11"/>
          </p:nvPr>
        </p:nvSpPr>
        <p:spPr>
          <a:xfrm>
            <a:off x="4477319" y="1755261"/>
            <a:ext cx="1800000" cy="1800000"/>
          </a:xfrm>
          <a:custGeom>
            <a:avLst/>
            <a:gdLst>
              <a:gd name="connsiteX0" fmla="*/ 900000 w 1800000"/>
              <a:gd name="connsiteY0" fmla="*/ 0 h 1800000"/>
              <a:gd name="connsiteX1" fmla="*/ 1800000 w 1800000"/>
              <a:gd name="connsiteY1" fmla="*/ 900000 h 1800000"/>
              <a:gd name="connsiteX2" fmla="*/ 900000 w 1800000"/>
              <a:gd name="connsiteY2" fmla="*/ 1800000 h 1800000"/>
              <a:gd name="connsiteX3" fmla="*/ 0 w 1800000"/>
              <a:gd name="connsiteY3" fmla="*/ 900000 h 18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0000" h="1800000">
                <a:moveTo>
                  <a:pt x="900000" y="0"/>
                </a:moveTo>
                <a:lnTo>
                  <a:pt x="1800000" y="900000"/>
                </a:lnTo>
                <a:lnTo>
                  <a:pt x="900000" y="1800000"/>
                </a:lnTo>
                <a:lnTo>
                  <a:pt x="0" y="900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3" name="图片占位符 12"/>
          <p:cNvSpPr>
            <a:spLocks noGrp="1"/>
          </p:cNvSpPr>
          <p:nvPr>
            <p:ph type="pic" sz="quarter" idx="12"/>
          </p:nvPr>
        </p:nvSpPr>
        <p:spPr>
          <a:xfrm>
            <a:off x="5900914" y="1755261"/>
            <a:ext cx="1800000" cy="1800000"/>
          </a:xfrm>
          <a:custGeom>
            <a:avLst/>
            <a:gdLst>
              <a:gd name="connsiteX0" fmla="*/ 900000 w 1800000"/>
              <a:gd name="connsiteY0" fmla="*/ 0 h 1800000"/>
              <a:gd name="connsiteX1" fmla="*/ 1800000 w 1800000"/>
              <a:gd name="connsiteY1" fmla="*/ 900000 h 1800000"/>
              <a:gd name="connsiteX2" fmla="*/ 900000 w 1800000"/>
              <a:gd name="connsiteY2" fmla="*/ 1800000 h 1800000"/>
              <a:gd name="connsiteX3" fmla="*/ 0 w 1800000"/>
              <a:gd name="connsiteY3" fmla="*/ 900000 h 18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0000" h="1800000">
                <a:moveTo>
                  <a:pt x="900000" y="0"/>
                </a:moveTo>
                <a:lnTo>
                  <a:pt x="1800000" y="900000"/>
                </a:lnTo>
                <a:lnTo>
                  <a:pt x="900000" y="1800000"/>
                </a:lnTo>
                <a:lnTo>
                  <a:pt x="0" y="900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4" name="图片占位符 13"/>
          <p:cNvSpPr>
            <a:spLocks noGrp="1"/>
          </p:cNvSpPr>
          <p:nvPr>
            <p:ph type="pic" sz="quarter" idx="13"/>
          </p:nvPr>
        </p:nvSpPr>
        <p:spPr>
          <a:xfrm>
            <a:off x="7324509" y="1755261"/>
            <a:ext cx="1800000" cy="1800000"/>
          </a:xfrm>
          <a:custGeom>
            <a:avLst/>
            <a:gdLst>
              <a:gd name="connsiteX0" fmla="*/ 900000 w 1800000"/>
              <a:gd name="connsiteY0" fmla="*/ 0 h 1800000"/>
              <a:gd name="connsiteX1" fmla="*/ 1800000 w 1800000"/>
              <a:gd name="connsiteY1" fmla="*/ 900000 h 1800000"/>
              <a:gd name="connsiteX2" fmla="*/ 900000 w 1800000"/>
              <a:gd name="connsiteY2" fmla="*/ 1800000 h 1800000"/>
              <a:gd name="connsiteX3" fmla="*/ 0 w 1800000"/>
              <a:gd name="connsiteY3" fmla="*/ 900000 h 18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0000" h="1800000">
                <a:moveTo>
                  <a:pt x="900000" y="0"/>
                </a:moveTo>
                <a:lnTo>
                  <a:pt x="1800000" y="900000"/>
                </a:lnTo>
                <a:lnTo>
                  <a:pt x="900000" y="1800000"/>
                </a:lnTo>
                <a:lnTo>
                  <a:pt x="0" y="900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2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2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2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/>
      <p:bldP spid="14" grpId="0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直接连接符 4"/>
          <p:cNvCxnSpPr/>
          <p:nvPr userDrawn="1"/>
        </p:nvCxnSpPr>
        <p:spPr>
          <a:xfrm>
            <a:off x="706694" y="895973"/>
            <a:ext cx="1726174" cy="0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任意多边形: 形状 5"/>
          <p:cNvSpPr/>
          <p:nvPr userDrawn="1"/>
        </p:nvSpPr>
        <p:spPr bwMode="auto">
          <a:xfrm>
            <a:off x="10804479" y="3782920"/>
            <a:ext cx="7551743" cy="2790818"/>
          </a:xfrm>
          <a:custGeom>
            <a:avLst/>
            <a:gdLst>
              <a:gd name="connsiteX0" fmla="*/ 3770919 w 7551743"/>
              <a:gd name="connsiteY0" fmla="*/ 0 h 2790818"/>
              <a:gd name="connsiteX1" fmla="*/ 7551743 w 7551743"/>
              <a:gd name="connsiteY1" fmla="*/ 0 h 2790818"/>
              <a:gd name="connsiteX2" fmla="*/ 7551743 w 7551743"/>
              <a:gd name="connsiteY2" fmla="*/ 457133 h 2790818"/>
              <a:gd name="connsiteX3" fmla="*/ 2223033 w 7551743"/>
              <a:gd name="connsiteY3" fmla="*/ 2632589 h 2790818"/>
              <a:gd name="connsiteX4" fmla="*/ 0 w 7551743"/>
              <a:gd name="connsiteY4" fmla="*/ 2790818 h 2790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51743" h="2790818">
                <a:moveTo>
                  <a:pt x="3770919" y="0"/>
                </a:moveTo>
                <a:lnTo>
                  <a:pt x="7551743" y="0"/>
                </a:lnTo>
                <a:lnTo>
                  <a:pt x="7551743" y="457133"/>
                </a:lnTo>
                <a:lnTo>
                  <a:pt x="2223033" y="2632589"/>
                </a:lnTo>
                <a:lnTo>
                  <a:pt x="0" y="2790818"/>
                </a:lnTo>
                <a:close/>
              </a:path>
            </a:pathLst>
          </a:custGeom>
          <a:gradFill>
            <a:gsLst>
              <a:gs pos="500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7" name="任意多边形: 形状 6"/>
          <p:cNvSpPr/>
          <p:nvPr userDrawn="1"/>
        </p:nvSpPr>
        <p:spPr bwMode="auto">
          <a:xfrm>
            <a:off x="3139246" y="6389511"/>
            <a:ext cx="10004945" cy="3157874"/>
          </a:xfrm>
          <a:custGeom>
            <a:avLst/>
            <a:gdLst>
              <a:gd name="connsiteX0" fmla="*/ 0 w 7084765"/>
              <a:gd name="connsiteY0" fmla="*/ 0 h 2460546"/>
              <a:gd name="connsiteX1" fmla="*/ 7084765 w 7084765"/>
              <a:gd name="connsiteY1" fmla="*/ 0 h 2460546"/>
              <a:gd name="connsiteX2" fmla="*/ 0 w 7084765"/>
              <a:gd name="connsiteY2" fmla="*/ 2460546 h 2460546"/>
              <a:gd name="connsiteX0-1" fmla="*/ 2920180 w 10004945"/>
              <a:gd name="connsiteY0-2" fmla="*/ 0 h 3133800"/>
              <a:gd name="connsiteX1-3" fmla="*/ 10004945 w 10004945"/>
              <a:gd name="connsiteY1-4" fmla="*/ 0 h 3133800"/>
              <a:gd name="connsiteX2-5" fmla="*/ 0 w 10004945"/>
              <a:gd name="connsiteY2-6" fmla="*/ 3133800 h 3133800"/>
              <a:gd name="connsiteX3" fmla="*/ 2920180 w 10004945"/>
              <a:gd name="connsiteY3" fmla="*/ 0 h 3133800"/>
              <a:gd name="connsiteX0-7" fmla="*/ 58993 w 10004945"/>
              <a:gd name="connsiteY0-8" fmla="*/ 702526 h 3133800"/>
              <a:gd name="connsiteX1-9" fmla="*/ 10004945 w 10004945"/>
              <a:gd name="connsiteY1-10" fmla="*/ 0 h 3133800"/>
              <a:gd name="connsiteX2-11" fmla="*/ 0 w 10004945"/>
              <a:gd name="connsiteY2-12" fmla="*/ 3133800 h 3133800"/>
              <a:gd name="connsiteX3-13" fmla="*/ 58993 w 10004945"/>
              <a:gd name="connsiteY3-14" fmla="*/ 702526 h 3133800"/>
              <a:gd name="connsiteX0-15" fmla="*/ 58993 w 10004945"/>
              <a:gd name="connsiteY0-16" fmla="*/ 702526 h 3133800"/>
              <a:gd name="connsiteX1-17" fmla="*/ 10004945 w 10004945"/>
              <a:gd name="connsiteY1-18" fmla="*/ 0 h 3133800"/>
              <a:gd name="connsiteX2-19" fmla="*/ 8305502 w 10004945"/>
              <a:gd name="connsiteY2-20" fmla="*/ 508825 h 3133800"/>
              <a:gd name="connsiteX3-21" fmla="*/ 0 w 10004945"/>
              <a:gd name="connsiteY3-22" fmla="*/ 3133800 h 3133800"/>
              <a:gd name="connsiteX4" fmla="*/ 58993 w 10004945"/>
              <a:gd name="connsiteY4" fmla="*/ 702526 h 3133800"/>
              <a:gd name="connsiteX0-23" fmla="*/ 58993 w 10004945"/>
              <a:gd name="connsiteY0-24" fmla="*/ 702526 h 3133800"/>
              <a:gd name="connsiteX1-25" fmla="*/ 10004945 w 10004945"/>
              <a:gd name="connsiteY1-26" fmla="*/ 0 h 3133800"/>
              <a:gd name="connsiteX2-27" fmla="*/ 8954431 w 10004945"/>
              <a:gd name="connsiteY2-28" fmla="*/ 684457 h 3133800"/>
              <a:gd name="connsiteX3-29" fmla="*/ 0 w 10004945"/>
              <a:gd name="connsiteY3-30" fmla="*/ 3133800 h 3133800"/>
              <a:gd name="connsiteX4-31" fmla="*/ 58993 w 10004945"/>
              <a:gd name="connsiteY4-32" fmla="*/ 702526 h 31338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13" y="connsiteY3-14"/>
              </a:cxn>
              <a:cxn ang="0">
                <a:pos x="connsiteX4-31" y="connsiteY4-32"/>
              </a:cxn>
            </a:cxnLst>
            <a:rect l="l" t="t" r="r" b="b"/>
            <a:pathLst>
              <a:path w="10004945" h="3133800">
                <a:moveTo>
                  <a:pt x="58993" y="702526"/>
                </a:moveTo>
                <a:lnTo>
                  <a:pt x="10004945" y="0"/>
                </a:lnTo>
                <a:lnTo>
                  <a:pt x="8954431" y="684457"/>
                </a:lnTo>
                <a:lnTo>
                  <a:pt x="0" y="3133800"/>
                </a:lnTo>
                <a:cubicBezTo>
                  <a:pt x="0" y="2313618"/>
                  <a:pt x="58993" y="1522708"/>
                  <a:pt x="58993" y="702526"/>
                </a:cubicBezTo>
                <a:close/>
              </a:path>
            </a:pathLst>
          </a:custGeom>
          <a:solidFill>
            <a:srgbClr val="5ACE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图片占位符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721475" cy="34290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图片占位符 6"/>
          <p:cNvSpPr>
            <a:spLocks noGrp="1"/>
          </p:cNvSpPr>
          <p:nvPr>
            <p:ph type="pic" sz="quarter" idx="11"/>
          </p:nvPr>
        </p:nvSpPr>
        <p:spPr>
          <a:xfrm>
            <a:off x="6721475" y="0"/>
            <a:ext cx="5470525" cy="6827838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/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图片占位符 3"/>
          <p:cNvSpPr>
            <a:spLocks noGrp="1"/>
          </p:cNvSpPr>
          <p:nvPr>
            <p:ph type="pic" sz="quarter" idx="10"/>
          </p:nvPr>
        </p:nvSpPr>
        <p:spPr>
          <a:xfrm>
            <a:off x="1143000" y="1733550"/>
            <a:ext cx="5314950" cy="295275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图片占位符 14"/>
          <p:cNvSpPr>
            <a:spLocks noGrp="1"/>
          </p:cNvSpPr>
          <p:nvPr>
            <p:ph type="pic" sz="quarter" idx="10"/>
          </p:nvPr>
        </p:nvSpPr>
        <p:spPr>
          <a:xfrm>
            <a:off x="1145996" y="1355304"/>
            <a:ext cx="3620855" cy="3327256"/>
          </a:xfrm>
          <a:custGeom>
            <a:avLst/>
            <a:gdLst>
              <a:gd name="connsiteX0" fmla="*/ 1503326 w 3620855"/>
              <a:gd name="connsiteY0" fmla="*/ 0 h 3327256"/>
              <a:gd name="connsiteX1" fmla="*/ 3620855 w 3620855"/>
              <a:gd name="connsiteY1" fmla="*/ 0 h 3327256"/>
              <a:gd name="connsiteX2" fmla="*/ 2117697 w 3620855"/>
              <a:gd name="connsiteY2" fmla="*/ 3327256 h 3327256"/>
              <a:gd name="connsiteX3" fmla="*/ 0 w 3620855"/>
              <a:gd name="connsiteY3" fmla="*/ 3327256 h 3327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20855" h="3327256">
                <a:moveTo>
                  <a:pt x="1503326" y="0"/>
                </a:moveTo>
                <a:lnTo>
                  <a:pt x="3620855" y="0"/>
                </a:lnTo>
                <a:lnTo>
                  <a:pt x="2117697" y="3327256"/>
                </a:lnTo>
                <a:lnTo>
                  <a:pt x="0" y="332725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4" name="图片占位符 13"/>
          <p:cNvSpPr>
            <a:spLocks noGrp="1"/>
          </p:cNvSpPr>
          <p:nvPr>
            <p:ph type="pic" sz="quarter" idx="11"/>
          </p:nvPr>
        </p:nvSpPr>
        <p:spPr>
          <a:xfrm>
            <a:off x="2857878" y="2640651"/>
            <a:ext cx="3620855" cy="3327256"/>
          </a:xfrm>
          <a:custGeom>
            <a:avLst/>
            <a:gdLst>
              <a:gd name="connsiteX0" fmla="*/ 1503326 w 3620855"/>
              <a:gd name="connsiteY0" fmla="*/ 0 h 3327256"/>
              <a:gd name="connsiteX1" fmla="*/ 3620855 w 3620855"/>
              <a:gd name="connsiteY1" fmla="*/ 0 h 3327256"/>
              <a:gd name="connsiteX2" fmla="*/ 2117697 w 3620855"/>
              <a:gd name="connsiteY2" fmla="*/ 3327256 h 3327256"/>
              <a:gd name="connsiteX3" fmla="*/ 0 w 3620855"/>
              <a:gd name="connsiteY3" fmla="*/ 3327256 h 3327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20855" h="3327256">
                <a:moveTo>
                  <a:pt x="1503326" y="0"/>
                </a:moveTo>
                <a:lnTo>
                  <a:pt x="3620855" y="0"/>
                </a:lnTo>
                <a:lnTo>
                  <a:pt x="2117697" y="3327256"/>
                </a:lnTo>
                <a:lnTo>
                  <a:pt x="0" y="332725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3" name="图片占位符 12"/>
          <p:cNvSpPr>
            <a:spLocks noGrp="1"/>
          </p:cNvSpPr>
          <p:nvPr>
            <p:ph type="pic" sz="quarter" idx="12"/>
          </p:nvPr>
        </p:nvSpPr>
        <p:spPr>
          <a:xfrm>
            <a:off x="5713270" y="1355304"/>
            <a:ext cx="3620854" cy="3327256"/>
          </a:xfrm>
          <a:custGeom>
            <a:avLst/>
            <a:gdLst>
              <a:gd name="connsiteX0" fmla="*/ 1503325 w 3620854"/>
              <a:gd name="connsiteY0" fmla="*/ 0 h 3327256"/>
              <a:gd name="connsiteX1" fmla="*/ 3620854 w 3620854"/>
              <a:gd name="connsiteY1" fmla="*/ 0 h 3327256"/>
              <a:gd name="connsiteX2" fmla="*/ 2117697 w 3620854"/>
              <a:gd name="connsiteY2" fmla="*/ 3327256 h 3327256"/>
              <a:gd name="connsiteX3" fmla="*/ 0 w 3620854"/>
              <a:gd name="connsiteY3" fmla="*/ 3327256 h 3327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20854" h="3327256">
                <a:moveTo>
                  <a:pt x="1503325" y="0"/>
                </a:moveTo>
                <a:lnTo>
                  <a:pt x="3620854" y="0"/>
                </a:lnTo>
                <a:lnTo>
                  <a:pt x="2117697" y="3327256"/>
                </a:lnTo>
                <a:lnTo>
                  <a:pt x="0" y="332725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2" name="图片占位符 11"/>
          <p:cNvSpPr>
            <a:spLocks noGrp="1"/>
          </p:cNvSpPr>
          <p:nvPr>
            <p:ph type="pic" sz="quarter" idx="13"/>
          </p:nvPr>
        </p:nvSpPr>
        <p:spPr>
          <a:xfrm>
            <a:off x="7425150" y="2640651"/>
            <a:ext cx="3620854" cy="3327256"/>
          </a:xfrm>
          <a:custGeom>
            <a:avLst/>
            <a:gdLst>
              <a:gd name="connsiteX0" fmla="*/ 1503325 w 3620854"/>
              <a:gd name="connsiteY0" fmla="*/ 0 h 3327256"/>
              <a:gd name="connsiteX1" fmla="*/ 3620854 w 3620854"/>
              <a:gd name="connsiteY1" fmla="*/ 0 h 3327256"/>
              <a:gd name="connsiteX2" fmla="*/ 2117697 w 3620854"/>
              <a:gd name="connsiteY2" fmla="*/ 3327256 h 3327256"/>
              <a:gd name="connsiteX3" fmla="*/ 0 w 3620854"/>
              <a:gd name="connsiteY3" fmla="*/ 3327256 h 3327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20854" h="3327256">
                <a:moveTo>
                  <a:pt x="1503325" y="0"/>
                </a:moveTo>
                <a:lnTo>
                  <a:pt x="3620854" y="0"/>
                </a:lnTo>
                <a:lnTo>
                  <a:pt x="2117697" y="3327256"/>
                </a:lnTo>
                <a:lnTo>
                  <a:pt x="0" y="332725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4" grpId="0"/>
      <p:bldP spid="13" grpId="0"/>
      <p:bldP spid="12" grpId="0"/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图片占位符 10"/>
          <p:cNvSpPr>
            <a:spLocks noGrp="1"/>
          </p:cNvSpPr>
          <p:nvPr>
            <p:ph type="pic" sz="quarter" idx="10"/>
          </p:nvPr>
        </p:nvSpPr>
        <p:spPr>
          <a:xfrm>
            <a:off x="1070811" y="1831624"/>
            <a:ext cx="1800000" cy="1800000"/>
          </a:xfrm>
          <a:custGeom>
            <a:avLst/>
            <a:gdLst>
              <a:gd name="connsiteX0" fmla="*/ 900000 w 1800000"/>
              <a:gd name="connsiteY0" fmla="*/ 0 h 1800000"/>
              <a:gd name="connsiteX1" fmla="*/ 1800000 w 1800000"/>
              <a:gd name="connsiteY1" fmla="*/ 900000 h 1800000"/>
              <a:gd name="connsiteX2" fmla="*/ 900000 w 1800000"/>
              <a:gd name="connsiteY2" fmla="*/ 1800000 h 1800000"/>
              <a:gd name="connsiteX3" fmla="*/ 0 w 1800000"/>
              <a:gd name="connsiteY3" fmla="*/ 900000 h 18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0000" h="1800000">
                <a:moveTo>
                  <a:pt x="900000" y="0"/>
                </a:moveTo>
                <a:lnTo>
                  <a:pt x="1800000" y="900000"/>
                </a:lnTo>
                <a:lnTo>
                  <a:pt x="900000" y="1800000"/>
                </a:lnTo>
                <a:lnTo>
                  <a:pt x="0" y="900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2" name="图片占位符 11"/>
          <p:cNvSpPr>
            <a:spLocks noGrp="1"/>
          </p:cNvSpPr>
          <p:nvPr>
            <p:ph type="pic" sz="quarter" idx="11"/>
          </p:nvPr>
        </p:nvSpPr>
        <p:spPr>
          <a:xfrm>
            <a:off x="3826043" y="1831624"/>
            <a:ext cx="1800000" cy="1800000"/>
          </a:xfrm>
          <a:custGeom>
            <a:avLst/>
            <a:gdLst>
              <a:gd name="connsiteX0" fmla="*/ 900000 w 1800000"/>
              <a:gd name="connsiteY0" fmla="*/ 0 h 1800000"/>
              <a:gd name="connsiteX1" fmla="*/ 1800000 w 1800000"/>
              <a:gd name="connsiteY1" fmla="*/ 900000 h 1800000"/>
              <a:gd name="connsiteX2" fmla="*/ 900000 w 1800000"/>
              <a:gd name="connsiteY2" fmla="*/ 1800000 h 1800000"/>
              <a:gd name="connsiteX3" fmla="*/ 0 w 1800000"/>
              <a:gd name="connsiteY3" fmla="*/ 900000 h 18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0000" h="1800000">
                <a:moveTo>
                  <a:pt x="900000" y="0"/>
                </a:moveTo>
                <a:lnTo>
                  <a:pt x="1800000" y="900000"/>
                </a:lnTo>
                <a:lnTo>
                  <a:pt x="900000" y="1800000"/>
                </a:lnTo>
                <a:lnTo>
                  <a:pt x="0" y="900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3" name="图片占位符 12"/>
          <p:cNvSpPr>
            <a:spLocks noGrp="1"/>
          </p:cNvSpPr>
          <p:nvPr>
            <p:ph type="pic" sz="quarter" idx="12"/>
          </p:nvPr>
        </p:nvSpPr>
        <p:spPr>
          <a:xfrm>
            <a:off x="6581275" y="1831624"/>
            <a:ext cx="1800000" cy="1800000"/>
          </a:xfrm>
          <a:custGeom>
            <a:avLst/>
            <a:gdLst>
              <a:gd name="connsiteX0" fmla="*/ 900000 w 1800000"/>
              <a:gd name="connsiteY0" fmla="*/ 0 h 1800000"/>
              <a:gd name="connsiteX1" fmla="*/ 1800000 w 1800000"/>
              <a:gd name="connsiteY1" fmla="*/ 900000 h 1800000"/>
              <a:gd name="connsiteX2" fmla="*/ 900000 w 1800000"/>
              <a:gd name="connsiteY2" fmla="*/ 1800000 h 1800000"/>
              <a:gd name="connsiteX3" fmla="*/ 0 w 1800000"/>
              <a:gd name="connsiteY3" fmla="*/ 900000 h 18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0000" h="1800000">
                <a:moveTo>
                  <a:pt x="900000" y="0"/>
                </a:moveTo>
                <a:lnTo>
                  <a:pt x="1800000" y="900000"/>
                </a:lnTo>
                <a:lnTo>
                  <a:pt x="900000" y="1800000"/>
                </a:lnTo>
                <a:lnTo>
                  <a:pt x="0" y="900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4" name="图片占位符 13"/>
          <p:cNvSpPr>
            <a:spLocks noGrp="1"/>
          </p:cNvSpPr>
          <p:nvPr>
            <p:ph type="pic" sz="quarter" idx="13"/>
          </p:nvPr>
        </p:nvSpPr>
        <p:spPr>
          <a:xfrm>
            <a:off x="9336506" y="1831624"/>
            <a:ext cx="1800000" cy="1800000"/>
          </a:xfrm>
          <a:custGeom>
            <a:avLst/>
            <a:gdLst>
              <a:gd name="connsiteX0" fmla="*/ 900000 w 1800000"/>
              <a:gd name="connsiteY0" fmla="*/ 0 h 1800000"/>
              <a:gd name="connsiteX1" fmla="*/ 1800000 w 1800000"/>
              <a:gd name="connsiteY1" fmla="*/ 900000 h 1800000"/>
              <a:gd name="connsiteX2" fmla="*/ 900000 w 1800000"/>
              <a:gd name="connsiteY2" fmla="*/ 1800000 h 1800000"/>
              <a:gd name="connsiteX3" fmla="*/ 0 w 1800000"/>
              <a:gd name="connsiteY3" fmla="*/ 900000 h 18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0000" h="1800000">
                <a:moveTo>
                  <a:pt x="900000" y="0"/>
                </a:moveTo>
                <a:lnTo>
                  <a:pt x="1800000" y="900000"/>
                </a:lnTo>
                <a:lnTo>
                  <a:pt x="900000" y="1800000"/>
                </a:lnTo>
                <a:lnTo>
                  <a:pt x="0" y="900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42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42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/>
      <p:bldP spid="14" grpId="0"/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图片占位符 7"/>
          <p:cNvSpPr>
            <a:spLocks noGrp="1"/>
          </p:cNvSpPr>
          <p:nvPr>
            <p:ph type="pic" sz="quarter" idx="10"/>
          </p:nvPr>
        </p:nvSpPr>
        <p:spPr>
          <a:xfrm>
            <a:off x="1053153" y="3609000"/>
            <a:ext cx="2340000" cy="2340000"/>
          </a:xfrm>
          <a:custGeom>
            <a:avLst/>
            <a:gdLst>
              <a:gd name="connsiteX0" fmla="*/ 1170000 w 2340000"/>
              <a:gd name="connsiteY0" fmla="*/ 0 h 2340000"/>
              <a:gd name="connsiteX1" fmla="*/ 2340000 w 2340000"/>
              <a:gd name="connsiteY1" fmla="*/ 1170000 h 2340000"/>
              <a:gd name="connsiteX2" fmla="*/ 1170000 w 2340000"/>
              <a:gd name="connsiteY2" fmla="*/ 2340000 h 2340000"/>
              <a:gd name="connsiteX3" fmla="*/ 0 w 2340000"/>
              <a:gd name="connsiteY3" fmla="*/ 1170000 h 23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40000" h="2340000">
                <a:moveTo>
                  <a:pt x="1170000" y="0"/>
                </a:moveTo>
                <a:lnTo>
                  <a:pt x="2340000" y="1170000"/>
                </a:lnTo>
                <a:lnTo>
                  <a:pt x="1170000" y="2340000"/>
                </a:lnTo>
                <a:lnTo>
                  <a:pt x="0" y="1170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7" name="图片占位符 6"/>
          <p:cNvSpPr>
            <a:spLocks noGrp="1"/>
          </p:cNvSpPr>
          <p:nvPr>
            <p:ph type="pic" sz="quarter" idx="11"/>
          </p:nvPr>
        </p:nvSpPr>
        <p:spPr>
          <a:xfrm>
            <a:off x="8980225" y="1268999"/>
            <a:ext cx="2340000" cy="2340000"/>
          </a:xfrm>
          <a:custGeom>
            <a:avLst/>
            <a:gdLst>
              <a:gd name="connsiteX0" fmla="*/ 1170000 w 2340000"/>
              <a:gd name="connsiteY0" fmla="*/ 0 h 2340000"/>
              <a:gd name="connsiteX1" fmla="*/ 2340000 w 2340000"/>
              <a:gd name="connsiteY1" fmla="*/ 1170000 h 2340000"/>
              <a:gd name="connsiteX2" fmla="*/ 1170000 w 2340000"/>
              <a:gd name="connsiteY2" fmla="*/ 2340000 h 2340000"/>
              <a:gd name="connsiteX3" fmla="*/ 0 w 2340000"/>
              <a:gd name="connsiteY3" fmla="*/ 1170000 h 23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40000" h="2340000">
                <a:moveTo>
                  <a:pt x="1170000" y="0"/>
                </a:moveTo>
                <a:lnTo>
                  <a:pt x="2340000" y="1170000"/>
                </a:lnTo>
                <a:lnTo>
                  <a:pt x="1170000" y="2340000"/>
                </a:lnTo>
                <a:lnTo>
                  <a:pt x="0" y="1170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7" grpId="0"/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5635724" y="0"/>
            <a:ext cx="4732259" cy="6858000"/>
          </a:xfrm>
          <a:prstGeom prst="parallelogram">
            <a:avLst>
              <a:gd name="adj" fmla="val 5487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400"/>
            </a:lvl1pPr>
          </a:lstStyle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图片占位符 4"/>
          <p:cNvSpPr>
            <a:spLocks noGrp="1"/>
          </p:cNvSpPr>
          <p:nvPr>
            <p:ph type="pic" sz="quarter" idx="10"/>
          </p:nvPr>
        </p:nvSpPr>
        <p:spPr>
          <a:xfrm>
            <a:off x="8582027" y="0"/>
            <a:ext cx="3609975" cy="6858000"/>
          </a:xfrm>
          <a:custGeom>
            <a:avLst/>
            <a:gdLst>
              <a:gd name="connsiteX0" fmla="*/ 1971675 w 3609975"/>
              <a:gd name="connsiteY0" fmla="*/ 0 h 6858000"/>
              <a:gd name="connsiteX1" fmla="*/ 3609975 w 3609975"/>
              <a:gd name="connsiteY1" fmla="*/ 0 h 6858000"/>
              <a:gd name="connsiteX2" fmla="*/ 3609975 w 3609975"/>
              <a:gd name="connsiteY2" fmla="*/ 6858000 h 6858000"/>
              <a:gd name="connsiteX3" fmla="*/ 943797 w 3609975"/>
              <a:gd name="connsiteY3" fmla="*/ 6858000 h 6858000"/>
              <a:gd name="connsiteX4" fmla="*/ 0 w 3609975"/>
              <a:gd name="connsiteY4" fmla="*/ 4970408 h 6858000"/>
              <a:gd name="connsiteX5" fmla="*/ 999578 w 3609975"/>
              <a:gd name="connsiteY5" fmla="*/ 2971253 h 6858000"/>
              <a:gd name="connsiteX6" fmla="*/ 0 w 3609975"/>
              <a:gd name="connsiteY6" fmla="*/ 1971675 h 6858000"/>
              <a:gd name="connsiteX0-1" fmla="*/ 1971675 w 3609975"/>
              <a:gd name="connsiteY0-2" fmla="*/ 0 h 6858000"/>
              <a:gd name="connsiteX1-3" fmla="*/ 3609975 w 3609975"/>
              <a:gd name="connsiteY1-4" fmla="*/ 0 h 6858000"/>
              <a:gd name="connsiteX2-5" fmla="*/ 3609975 w 3609975"/>
              <a:gd name="connsiteY2-6" fmla="*/ 6858000 h 6858000"/>
              <a:gd name="connsiteX3-7" fmla="*/ 943797 w 3609975"/>
              <a:gd name="connsiteY3-8" fmla="*/ 6858000 h 6858000"/>
              <a:gd name="connsiteX4-9" fmla="*/ 0 w 3609975"/>
              <a:gd name="connsiteY4-10" fmla="*/ 4970408 h 6858000"/>
              <a:gd name="connsiteX5-11" fmla="*/ 1361528 w 3609975"/>
              <a:gd name="connsiteY5-12" fmla="*/ 3542753 h 6858000"/>
              <a:gd name="connsiteX6-13" fmla="*/ 0 w 3609975"/>
              <a:gd name="connsiteY6-14" fmla="*/ 1971675 h 6858000"/>
              <a:gd name="connsiteX7" fmla="*/ 1971675 w 3609975"/>
              <a:gd name="connsiteY7" fmla="*/ 0 h 6858000"/>
              <a:gd name="connsiteX0-15" fmla="*/ 1971675 w 3609975"/>
              <a:gd name="connsiteY0-16" fmla="*/ 0 h 6858000"/>
              <a:gd name="connsiteX1-17" fmla="*/ 3609975 w 3609975"/>
              <a:gd name="connsiteY1-18" fmla="*/ 0 h 6858000"/>
              <a:gd name="connsiteX2-19" fmla="*/ 3609975 w 3609975"/>
              <a:gd name="connsiteY2-20" fmla="*/ 6858000 h 6858000"/>
              <a:gd name="connsiteX3-21" fmla="*/ 943797 w 3609975"/>
              <a:gd name="connsiteY3-22" fmla="*/ 6858000 h 6858000"/>
              <a:gd name="connsiteX4-23" fmla="*/ 0 w 3609975"/>
              <a:gd name="connsiteY4-24" fmla="*/ 4970408 h 6858000"/>
              <a:gd name="connsiteX5-25" fmla="*/ 1418678 w 3609975"/>
              <a:gd name="connsiteY5-26" fmla="*/ 4095203 h 6858000"/>
              <a:gd name="connsiteX6-27" fmla="*/ 0 w 3609975"/>
              <a:gd name="connsiteY6-28" fmla="*/ 1971675 h 6858000"/>
              <a:gd name="connsiteX7-29" fmla="*/ 1971675 w 3609975"/>
              <a:gd name="connsiteY7-30" fmla="*/ 0 h 6858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29" y="connsiteY7-30"/>
              </a:cxn>
            </a:cxnLst>
            <a:rect l="l" t="t" r="r" b="b"/>
            <a:pathLst>
              <a:path w="3609975" h="6858000">
                <a:moveTo>
                  <a:pt x="1971675" y="0"/>
                </a:moveTo>
                <a:lnTo>
                  <a:pt x="3609975" y="0"/>
                </a:lnTo>
                <a:lnTo>
                  <a:pt x="3609975" y="6858000"/>
                </a:lnTo>
                <a:lnTo>
                  <a:pt x="943797" y="6858000"/>
                </a:lnTo>
                <a:lnTo>
                  <a:pt x="0" y="4970408"/>
                </a:lnTo>
                <a:lnTo>
                  <a:pt x="1418678" y="4095203"/>
                </a:lnTo>
                <a:lnTo>
                  <a:pt x="0" y="1971675"/>
                </a:lnTo>
                <a:lnTo>
                  <a:pt x="1971675" y="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6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图片占位符 6"/>
          <p:cNvSpPr>
            <a:spLocks noGrp="1"/>
          </p:cNvSpPr>
          <p:nvPr>
            <p:ph type="pic" sz="quarter" idx="10"/>
          </p:nvPr>
        </p:nvSpPr>
        <p:spPr>
          <a:xfrm>
            <a:off x="806450" y="1295400"/>
            <a:ext cx="2532063" cy="4103688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8" name="图片占位符 6"/>
          <p:cNvSpPr>
            <a:spLocks noGrp="1"/>
          </p:cNvSpPr>
          <p:nvPr>
            <p:ph type="pic" sz="quarter" idx="12"/>
          </p:nvPr>
        </p:nvSpPr>
        <p:spPr>
          <a:xfrm>
            <a:off x="3472149" y="1295400"/>
            <a:ext cx="2532063" cy="4103688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9" name="图片占位符 6"/>
          <p:cNvSpPr>
            <a:spLocks noGrp="1"/>
          </p:cNvSpPr>
          <p:nvPr>
            <p:ph type="pic" sz="quarter" idx="13"/>
          </p:nvPr>
        </p:nvSpPr>
        <p:spPr>
          <a:xfrm>
            <a:off x="6137848" y="1295400"/>
            <a:ext cx="2532063" cy="4103688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20" name="图片占位符 6"/>
          <p:cNvSpPr>
            <a:spLocks noGrp="1"/>
          </p:cNvSpPr>
          <p:nvPr>
            <p:ph type="pic" sz="quarter" idx="11"/>
          </p:nvPr>
        </p:nvSpPr>
        <p:spPr>
          <a:xfrm>
            <a:off x="8803547" y="1295400"/>
            <a:ext cx="2532063" cy="4103688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8" grpId="0"/>
      <p:bldP spid="19" grpId="0"/>
      <p:bldP spid="20" grpId="0"/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图片占位符 4"/>
          <p:cNvSpPr>
            <a:spLocks noGrp="1"/>
          </p:cNvSpPr>
          <p:nvPr>
            <p:ph type="pic" sz="quarter" idx="10"/>
          </p:nvPr>
        </p:nvSpPr>
        <p:spPr>
          <a:xfrm>
            <a:off x="8223747" y="-195974"/>
            <a:ext cx="3843379" cy="7273693"/>
          </a:xfrm>
          <a:custGeom>
            <a:avLst/>
            <a:gdLst>
              <a:gd name="connsiteX0" fmla="*/ 1186205 w 3843379"/>
              <a:gd name="connsiteY0" fmla="*/ 4532853 h 7273693"/>
              <a:gd name="connsiteX1" fmla="*/ 1242932 w 3843379"/>
              <a:gd name="connsiteY1" fmla="*/ 4551928 h 7273693"/>
              <a:gd name="connsiteX2" fmla="*/ 2790152 w 3843379"/>
              <a:gd name="connsiteY2" fmla="*/ 5445216 h 7273693"/>
              <a:gd name="connsiteX3" fmla="*/ 2845317 w 3843379"/>
              <a:gd name="connsiteY3" fmla="*/ 5651092 h 7273693"/>
              <a:gd name="connsiteX4" fmla="*/ 1952029 w 3843379"/>
              <a:gd name="connsiteY4" fmla="*/ 7198312 h 7273693"/>
              <a:gd name="connsiteX5" fmla="*/ 1746152 w 3843379"/>
              <a:gd name="connsiteY5" fmla="*/ 7253477 h 7273693"/>
              <a:gd name="connsiteX6" fmla="*/ 198932 w 3843379"/>
              <a:gd name="connsiteY6" fmla="*/ 6360189 h 7273693"/>
              <a:gd name="connsiteX7" fmla="*/ 143767 w 3843379"/>
              <a:gd name="connsiteY7" fmla="*/ 6154312 h 7273693"/>
              <a:gd name="connsiteX8" fmla="*/ 1037055 w 3843379"/>
              <a:gd name="connsiteY8" fmla="*/ 4607092 h 7273693"/>
              <a:gd name="connsiteX9" fmla="*/ 1186205 w 3843379"/>
              <a:gd name="connsiteY9" fmla="*/ 4532853 h 7273693"/>
              <a:gd name="connsiteX10" fmla="*/ 2974761 w 3843379"/>
              <a:gd name="connsiteY10" fmla="*/ 4198926 h 7273693"/>
              <a:gd name="connsiteX11" fmla="*/ 3004102 w 3843379"/>
              <a:gd name="connsiteY11" fmla="*/ 4208792 h 7273693"/>
              <a:gd name="connsiteX12" fmla="*/ 3804390 w 3843379"/>
              <a:gd name="connsiteY12" fmla="*/ 4670839 h 7273693"/>
              <a:gd name="connsiteX13" fmla="*/ 3832923 w 3843379"/>
              <a:gd name="connsiteY13" fmla="*/ 4777326 h 7273693"/>
              <a:gd name="connsiteX14" fmla="*/ 3370877 w 3843379"/>
              <a:gd name="connsiteY14" fmla="*/ 5577613 h 7273693"/>
              <a:gd name="connsiteX15" fmla="*/ 3264390 w 3843379"/>
              <a:gd name="connsiteY15" fmla="*/ 5606146 h 7273693"/>
              <a:gd name="connsiteX16" fmla="*/ 2464102 w 3843379"/>
              <a:gd name="connsiteY16" fmla="*/ 5144100 h 7273693"/>
              <a:gd name="connsiteX17" fmla="*/ 2435569 w 3843379"/>
              <a:gd name="connsiteY17" fmla="*/ 5037613 h 7273693"/>
              <a:gd name="connsiteX18" fmla="*/ 2897615 w 3843379"/>
              <a:gd name="connsiteY18" fmla="*/ 4237326 h 7273693"/>
              <a:gd name="connsiteX19" fmla="*/ 2974761 w 3843379"/>
              <a:gd name="connsiteY19" fmla="*/ 4198926 h 7273693"/>
              <a:gd name="connsiteX20" fmla="*/ 1613353 w 3843379"/>
              <a:gd name="connsiteY20" fmla="*/ 2266996 h 7273693"/>
              <a:gd name="connsiteX21" fmla="*/ 1670080 w 3843379"/>
              <a:gd name="connsiteY21" fmla="*/ 2286072 h 7273693"/>
              <a:gd name="connsiteX22" fmla="*/ 3217300 w 3843379"/>
              <a:gd name="connsiteY22" fmla="*/ 3179359 h 7273693"/>
              <a:gd name="connsiteX23" fmla="*/ 3272465 w 3843379"/>
              <a:gd name="connsiteY23" fmla="*/ 3385236 h 7273693"/>
              <a:gd name="connsiteX24" fmla="*/ 2379177 w 3843379"/>
              <a:gd name="connsiteY24" fmla="*/ 4932456 h 7273693"/>
              <a:gd name="connsiteX25" fmla="*/ 2173300 w 3843379"/>
              <a:gd name="connsiteY25" fmla="*/ 4987621 h 7273693"/>
              <a:gd name="connsiteX26" fmla="*/ 626080 w 3843379"/>
              <a:gd name="connsiteY26" fmla="*/ 4094333 h 7273693"/>
              <a:gd name="connsiteX27" fmla="*/ 570915 w 3843379"/>
              <a:gd name="connsiteY27" fmla="*/ 3888456 h 7273693"/>
              <a:gd name="connsiteX28" fmla="*/ 1464203 w 3843379"/>
              <a:gd name="connsiteY28" fmla="*/ 2341236 h 7273693"/>
              <a:gd name="connsiteX29" fmla="*/ 1613353 w 3843379"/>
              <a:gd name="connsiteY29" fmla="*/ 2266996 h 7273693"/>
              <a:gd name="connsiteX30" fmla="*/ 549649 w 3843379"/>
              <a:gd name="connsiteY30" fmla="*/ 1657680 h 7273693"/>
              <a:gd name="connsiteX31" fmla="*/ 578990 w 3843379"/>
              <a:gd name="connsiteY31" fmla="*/ 1667547 h 7273693"/>
              <a:gd name="connsiteX32" fmla="*/ 1379278 w 3843379"/>
              <a:gd name="connsiteY32" fmla="*/ 2129593 h 7273693"/>
              <a:gd name="connsiteX33" fmla="*/ 1407811 w 3843379"/>
              <a:gd name="connsiteY33" fmla="*/ 2236079 h 7273693"/>
              <a:gd name="connsiteX34" fmla="*/ 945765 w 3843379"/>
              <a:gd name="connsiteY34" fmla="*/ 3036367 h 7273693"/>
              <a:gd name="connsiteX35" fmla="*/ 839278 w 3843379"/>
              <a:gd name="connsiteY35" fmla="*/ 3064900 h 7273693"/>
              <a:gd name="connsiteX36" fmla="*/ 38990 w 3843379"/>
              <a:gd name="connsiteY36" fmla="*/ 2602854 h 7273693"/>
              <a:gd name="connsiteX37" fmla="*/ 10457 w 3843379"/>
              <a:gd name="connsiteY37" fmla="*/ 2496366 h 7273693"/>
              <a:gd name="connsiteX38" fmla="*/ 472503 w 3843379"/>
              <a:gd name="connsiteY38" fmla="*/ 1696080 h 7273693"/>
              <a:gd name="connsiteX39" fmla="*/ 549649 w 3843379"/>
              <a:gd name="connsiteY39" fmla="*/ 1657680 h 7273693"/>
              <a:gd name="connsiteX40" fmla="*/ 2040501 w 3843379"/>
              <a:gd name="connsiteY40" fmla="*/ 1142 h 7273693"/>
              <a:gd name="connsiteX41" fmla="*/ 2097228 w 3843379"/>
              <a:gd name="connsiteY41" fmla="*/ 20217 h 7273693"/>
              <a:gd name="connsiteX42" fmla="*/ 3644448 w 3843379"/>
              <a:gd name="connsiteY42" fmla="*/ 913505 h 7273693"/>
              <a:gd name="connsiteX43" fmla="*/ 3699613 w 3843379"/>
              <a:gd name="connsiteY43" fmla="*/ 1119381 h 7273693"/>
              <a:gd name="connsiteX44" fmla="*/ 2806325 w 3843379"/>
              <a:gd name="connsiteY44" fmla="*/ 2666601 h 7273693"/>
              <a:gd name="connsiteX45" fmla="*/ 2600448 w 3843379"/>
              <a:gd name="connsiteY45" fmla="*/ 2721765 h 7273693"/>
              <a:gd name="connsiteX46" fmla="*/ 1053228 w 3843379"/>
              <a:gd name="connsiteY46" fmla="*/ 1828478 h 7273693"/>
              <a:gd name="connsiteX47" fmla="*/ 998063 w 3843379"/>
              <a:gd name="connsiteY47" fmla="*/ 1622601 h 7273693"/>
              <a:gd name="connsiteX48" fmla="*/ 1891351 w 3843379"/>
              <a:gd name="connsiteY48" fmla="*/ 75381 h 7273693"/>
              <a:gd name="connsiteX49" fmla="*/ 2040501 w 3843379"/>
              <a:gd name="connsiteY49" fmla="*/ 1142 h 7273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3843379" h="7273693">
                <a:moveTo>
                  <a:pt x="1186205" y="4532853"/>
                </a:moveTo>
                <a:cubicBezTo>
                  <a:pt x="1205634" y="4535263"/>
                  <a:pt x="1224911" y="4541523"/>
                  <a:pt x="1242932" y="4551928"/>
                </a:cubicBezTo>
                <a:lnTo>
                  <a:pt x="2790152" y="5445216"/>
                </a:lnTo>
                <a:cubicBezTo>
                  <a:pt x="2862237" y="5486834"/>
                  <a:pt x="2886935" y="5579008"/>
                  <a:pt x="2845317" y="5651092"/>
                </a:cubicBezTo>
                <a:lnTo>
                  <a:pt x="1952029" y="7198312"/>
                </a:lnTo>
                <a:cubicBezTo>
                  <a:pt x="1910411" y="7270397"/>
                  <a:pt x="1818237" y="7295095"/>
                  <a:pt x="1746152" y="7253477"/>
                </a:cubicBezTo>
                <a:lnTo>
                  <a:pt x="198932" y="6360189"/>
                </a:lnTo>
                <a:cubicBezTo>
                  <a:pt x="126847" y="6318571"/>
                  <a:pt x="102149" y="6226397"/>
                  <a:pt x="143767" y="6154312"/>
                </a:cubicBezTo>
                <a:lnTo>
                  <a:pt x="1037055" y="4607092"/>
                </a:lnTo>
                <a:cubicBezTo>
                  <a:pt x="1068269" y="4553029"/>
                  <a:pt x="1127920" y="4525620"/>
                  <a:pt x="1186205" y="4532853"/>
                </a:cubicBezTo>
                <a:close/>
                <a:moveTo>
                  <a:pt x="2974761" y="4198926"/>
                </a:moveTo>
                <a:cubicBezTo>
                  <a:pt x="2984810" y="4200173"/>
                  <a:pt x="2994781" y="4203411"/>
                  <a:pt x="3004102" y="4208792"/>
                </a:cubicBezTo>
                <a:lnTo>
                  <a:pt x="3804390" y="4670839"/>
                </a:lnTo>
                <a:cubicBezTo>
                  <a:pt x="3841675" y="4692365"/>
                  <a:pt x="3854449" y="4740041"/>
                  <a:pt x="3832923" y="4777326"/>
                </a:cubicBezTo>
                <a:lnTo>
                  <a:pt x="3370877" y="5577613"/>
                </a:lnTo>
                <a:cubicBezTo>
                  <a:pt x="3349350" y="5614898"/>
                  <a:pt x="3301675" y="5627672"/>
                  <a:pt x="3264390" y="5606146"/>
                </a:cubicBezTo>
                <a:lnTo>
                  <a:pt x="2464102" y="5144100"/>
                </a:lnTo>
                <a:cubicBezTo>
                  <a:pt x="2426817" y="5122573"/>
                  <a:pt x="2414043" y="5074898"/>
                  <a:pt x="2435569" y="5037613"/>
                </a:cubicBezTo>
                <a:lnTo>
                  <a:pt x="2897615" y="4237326"/>
                </a:lnTo>
                <a:cubicBezTo>
                  <a:pt x="2913760" y="4209362"/>
                  <a:pt x="2944614" y="4195185"/>
                  <a:pt x="2974761" y="4198926"/>
                </a:cubicBezTo>
                <a:close/>
                <a:moveTo>
                  <a:pt x="1613353" y="2266996"/>
                </a:moveTo>
                <a:cubicBezTo>
                  <a:pt x="1632782" y="2269407"/>
                  <a:pt x="1652059" y="2275667"/>
                  <a:pt x="1670080" y="2286072"/>
                </a:cubicBezTo>
                <a:lnTo>
                  <a:pt x="3217300" y="3179359"/>
                </a:lnTo>
                <a:cubicBezTo>
                  <a:pt x="3289385" y="3220978"/>
                  <a:pt x="3314083" y="3313152"/>
                  <a:pt x="3272465" y="3385236"/>
                </a:cubicBezTo>
                <a:lnTo>
                  <a:pt x="2379177" y="4932456"/>
                </a:lnTo>
                <a:cubicBezTo>
                  <a:pt x="2337559" y="5004541"/>
                  <a:pt x="2245385" y="5029239"/>
                  <a:pt x="2173300" y="4987621"/>
                </a:cubicBezTo>
                <a:lnTo>
                  <a:pt x="626080" y="4094333"/>
                </a:lnTo>
                <a:cubicBezTo>
                  <a:pt x="553995" y="4052715"/>
                  <a:pt x="529297" y="3960541"/>
                  <a:pt x="570915" y="3888456"/>
                </a:cubicBezTo>
                <a:lnTo>
                  <a:pt x="1464203" y="2341236"/>
                </a:lnTo>
                <a:cubicBezTo>
                  <a:pt x="1495417" y="2287173"/>
                  <a:pt x="1555068" y="2259764"/>
                  <a:pt x="1613353" y="2266996"/>
                </a:cubicBezTo>
                <a:close/>
                <a:moveTo>
                  <a:pt x="549649" y="1657680"/>
                </a:moveTo>
                <a:cubicBezTo>
                  <a:pt x="559698" y="1658927"/>
                  <a:pt x="569669" y="1662165"/>
                  <a:pt x="578990" y="1667547"/>
                </a:cubicBezTo>
                <a:lnTo>
                  <a:pt x="1379278" y="2129593"/>
                </a:lnTo>
                <a:cubicBezTo>
                  <a:pt x="1416563" y="2151119"/>
                  <a:pt x="1429337" y="2198795"/>
                  <a:pt x="1407811" y="2236079"/>
                </a:cubicBezTo>
                <a:lnTo>
                  <a:pt x="945765" y="3036367"/>
                </a:lnTo>
                <a:cubicBezTo>
                  <a:pt x="924238" y="3073651"/>
                  <a:pt x="876563" y="3086426"/>
                  <a:pt x="839278" y="3064900"/>
                </a:cubicBezTo>
                <a:lnTo>
                  <a:pt x="38990" y="2602854"/>
                </a:lnTo>
                <a:cubicBezTo>
                  <a:pt x="1705" y="2581327"/>
                  <a:pt x="-11069" y="2533651"/>
                  <a:pt x="10457" y="2496366"/>
                </a:cubicBezTo>
                <a:lnTo>
                  <a:pt x="472503" y="1696080"/>
                </a:lnTo>
                <a:cubicBezTo>
                  <a:pt x="488648" y="1668116"/>
                  <a:pt x="519502" y="1653939"/>
                  <a:pt x="549649" y="1657680"/>
                </a:cubicBezTo>
                <a:close/>
                <a:moveTo>
                  <a:pt x="2040501" y="1142"/>
                </a:moveTo>
                <a:cubicBezTo>
                  <a:pt x="2059930" y="3552"/>
                  <a:pt x="2079207" y="9812"/>
                  <a:pt x="2097228" y="20217"/>
                </a:cubicBezTo>
                <a:lnTo>
                  <a:pt x="3644448" y="913505"/>
                </a:lnTo>
                <a:cubicBezTo>
                  <a:pt x="3716533" y="955123"/>
                  <a:pt x="3741231" y="1047297"/>
                  <a:pt x="3699613" y="1119381"/>
                </a:cubicBezTo>
                <a:lnTo>
                  <a:pt x="2806325" y="2666601"/>
                </a:lnTo>
                <a:cubicBezTo>
                  <a:pt x="2764707" y="2738685"/>
                  <a:pt x="2672533" y="2763383"/>
                  <a:pt x="2600448" y="2721765"/>
                </a:cubicBezTo>
                <a:lnTo>
                  <a:pt x="1053228" y="1828478"/>
                </a:lnTo>
                <a:cubicBezTo>
                  <a:pt x="981143" y="1786860"/>
                  <a:pt x="956445" y="1694686"/>
                  <a:pt x="998063" y="1622601"/>
                </a:cubicBezTo>
                <a:lnTo>
                  <a:pt x="1891351" y="75381"/>
                </a:lnTo>
                <a:cubicBezTo>
                  <a:pt x="1922564" y="21318"/>
                  <a:pt x="1982216" y="-6091"/>
                  <a:pt x="2040501" y="1142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816906" y="488415"/>
            <a:ext cx="6375094" cy="6375094"/>
          </a:xfrm>
          <a:custGeom>
            <a:avLst/>
            <a:gdLst>
              <a:gd name="connsiteX0" fmla="*/ 6375094 w 6375094"/>
              <a:gd name="connsiteY0" fmla="*/ 0 h 6375094"/>
              <a:gd name="connsiteX1" fmla="*/ 6375094 w 6375094"/>
              <a:gd name="connsiteY1" fmla="*/ 6375094 h 6375094"/>
              <a:gd name="connsiteX2" fmla="*/ 0 w 6375094"/>
              <a:gd name="connsiteY2" fmla="*/ 6375094 h 6375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375094" h="6375094">
                <a:moveTo>
                  <a:pt x="6375094" y="0"/>
                </a:moveTo>
                <a:lnTo>
                  <a:pt x="6375094" y="6375094"/>
                </a:lnTo>
                <a:lnTo>
                  <a:pt x="0" y="6375094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89766" y="827835"/>
            <a:ext cx="4194851" cy="244183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4000" b="0" spc="-15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2000505000000020004" pitchFamily="50" charset="0"/>
              </a:defRPr>
            </a:lvl1pPr>
          </a:lstStyle>
          <a:p>
            <a:r>
              <a:rPr lang="en-US" dirty="0"/>
              <a:t>Your Creative Title Goes Here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0" y="1390869"/>
            <a:ext cx="6096000" cy="4769253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cxnSp>
        <p:nvCxnSpPr>
          <p:cNvPr id="3" name="直接连接符 2"/>
          <p:cNvCxnSpPr/>
          <p:nvPr userDrawn="1"/>
        </p:nvCxnSpPr>
        <p:spPr>
          <a:xfrm>
            <a:off x="706694" y="895973"/>
            <a:ext cx="1726174" cy="0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任意多边形: 形状 3"/>
          <p:cNvSpPr/>
          <p:nvPr userDrawn="1"/>
        </p:nvSpPr>
        <p:spPr bwMode="auto">
          <a:xfrm>
            <a:off x="10804479" y="3782920"/>
            <a:ext cx="7551743" cy="2790818"/>
          </a:xfrm>
          <a:custGeom>
            <a:avLst/>
            <a:gdLst>
              <a:gd name="connsiteX0" fmla="*/ 3770919 w 7551743"/>
              <a:gd name="connsiteY0" fmla="*/ 0 h 2790818"/>
              <a:gd name="connsiteX1" fmla="*/ 7551743 w 7551743"/>
              <a:gd name="connsiteY1" fmla="*/ 0 h 2790818"/>
              <a:gd name="connsiteX2" fmla="*/ 7551743 w 7551743"/>
              <a:gd name="connsiteY2" fmla="*/ 457133 h 2790818"/>
              <a:gd name="connsiteX3" fmla="*/ 2223033 w 7551743"/>
              <a:gd name="connsiteY3" fmla="*/ 2632589 h 2790818"/>
              <a:gd name="connsiteX4" fmla="*/ 0 w 7551743"/>
              <a:gd name="connsiteY4" fmla="*/ 2790818 h 2790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51743" h="2790818">
                <a:moveTo>
                  <a:pt x="3770919" y="0"/>
                </a:moveTo>
                <a:lnTo>
                  <a:pt x="7551743" y="0"/>
                </a:lnTo>
                <a:lnTo>
                  <a:pt x="7551743" y="457133"/>
                </a:lnTo>
                <a:lnTo>
                  <a:pt x="2223033" y="2632589"/>
                </a:lnTo>
                <a:lnTo>
                  <a:pt x="0" y="2790818"/>
                </a:lnTo>
                <a:close/>
              </a:path>
            </a:pathLst>
          </a:custGeom>
          <a:gradFill>
            <a:gsLst>
              <a:gs pos="5000">
                <a:schemeClr val="accent1"/>
              </a:gs>
              <a:gs pos="100000">
                <a:schemeClr val="accent2"/>
              </a:gs>
            </a:gsLst>
            <a:lin ang="27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5" name="任意多边形: 形状 4"/>
          <p:cNvSpPr/>
          <p:nvPr userDrawn="1"/>
        </p:nvSpPr>
        <p:spPr bwMode="auto">
          <a:xfrm>
            <a:off x="3139246" y="6389511"/>
            <a:ext cx="10004945" cy="3157874"/>
          </a:xfrm>
          <a:custGeom>
            <a:avLst/>
            <a:gdLst>
              <a:gd name="connsiteX0" fmla="*/ 0 w 7084765"/>
              <a:gd name="connsiteY0" fmla="*/ 0 h 2460546"/>
              <a:gd name="connsiteX1" fmla="*/ 7084765 w 7084765"/>
              <a:gd name="connsiteY1" fmla="*/ 0 h 2460546"/>
              <a:gd name="connsiteX2" fmla="*/ 0 w 7084765"/>
              <a:gd name="connsiteY2" fmla="*/ 2460546 h 2460546"/>
              <a:gd name="connsiteX0-1" fmla="*/ 2920180 w 10004945"/>
              <a:gd name="connsiteY0-2" fmla="*/ 0 h 3133800"/>
              <a:gd name="connsiteX1-3" fmla="*/ 10004945 w 10004945"/>
              <a:gd name="connsiteY1-4" fmla="*/ 0 h 3133800"/>
              <a:gd name="connsiteX2-5" fmla="*/ 0 w 10004945"/>
              <a:gd name="connsiteY2-6" fmla="*/ 3133800 h 3133800"/>
              <a:gd name="connsiteX3" fmla="*/ 2920180 w 10004945"/>
              <a:gd name="connsiteY3" fmla="*/ 0 h 3133800"/>
              <a:gd name="connsiteX0-7" fmla="*/ 58993 w 10004945"/>
              <a:gd name="connsiteY0-8" fmla="*/ 702526 h 3133800"/>
              <a:gd name="connsiteX1-9" fmla="*/ 10004945 w 10004945"/>
              <a:gd name="connsiteY1-10" fmla="*/ 0 h 3133800"/>
              <a:gd name="connsiteX2-11" fmla="*/ 0 w 10004945"/>
              <a:gd name="connsiteY2-12" fmla="*/ 3133800 h 3133800"/>
              <a:gd name="connsiteX3-13" fmla="*/ 58993 w 10004945"/>
              <a:gd name="connsiteY3-14" fmla="*/ 702526 h 3133800"/>
              <a:gd name="connsiteX0-15" fmla="*/ 58993 w 10004945"/>
              <a:gd name="connsiteY0-16" fmla="*/ 702526 h 3133800"/>
              <a:gd name="connsiteX1-17" fmla="*/ 10004945 w 10004945"/>
              <a:gd name="connsiteY1-18" fmla="*/ 0 h 3133800"/>
              <a:gd name="connsiteX2-19" fmla="*/ 8305502 w 10004945"/>
              <a:gd name="connsiteY2-20" fmla="*/ 508825 h 3133800"/>
              <a:gd name="connsiteX3-21" fmla="*/ 0 w 10004945"/>
              <a:gd name="connsiteY3-22" fmla="*/ 3133800 h 3133800"/>
              <a:gd name="connsiteX4" fmla="*/ 58993 w 10004945"/>
              <a:gd name="connsiteY4" fmla="*/ 702526 h 3133800"/>
              <a:gd name="connsiteX0-23" fmla="*/ 58993 w 10004945"/>
              <a:gd name="connsiteY0-24" fmla="*/ 702526 h 3133800"/>
              <a:gd name="connsiteX1-25" fmla="*/ 10004945 w 10004945"/>
              <a:gd name="connsiteY1-26" fmla="*/ 0 h 3133800"/>
              <a:gd name="connsiteX2-27" fmla="*/ 8954431 w 10004945"/>
              <a:gd name="connsiteY2-28" fmla="*/ 684457 h 3133800"/>
              <a:gd name="connsiteX3-29" fmla="*/ 0 w 10004945"/>
              <a:gd name="connsiteY3-30" fmla="*/ 3133800 h 3133800"/>
              <a:gd name="connsiteX4-31" fmla="*/ 58993 w 10004945"/>
              <a:gd name="connsiteY4-32" fmla="*/ 702526 h 31338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13" y="connsiteY3-14"/>
              </a:cxn>
              <a:cxn ang="0">
                <a:pos x="connsiteX4-31" y="connsiteY4-32"/>
              </a:cxn>
            </a:cxnLst>
            <a:rect l="l" t="t" r="r" b="b"/>
            <a:pathLst>
              <a:path w="10004945" h="3133800">
                <a:moveTo>
                  <a:pt x="58993" y="702526"/>
                </a:moveTo>
                <a:lnTo>
                  <a:pt x="10004945" y="0"/>
                </a:lnTo>
                <a:lnTo>
                  <a:pt x="8954431" y="684457"/>
                </a:lnTo>
                <a:lnTo>
                  <a:pt x="0" y="3133800"/>
                </a:lnTo>
                <a:cubicBezTo>
                  <a:pt x="0" y="2313618"/>
                  <a:pt x="58993" y="1522708"/>
                  <a:pt x="58993" y="702526"/>
                </a:cubicBezTo>
                <a:close/>
              </a:path>
            </a:pathLst>
          </a:custGeom>
          <a:solidFill>
            <a:srgbClr val="5ACE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E32087-838D-4429-83AB-2E1F4409349E}" type="datetime1">
              <a:rPr lang="zh-CN" altLang="en-US"/>
              <a:t>2021/1/15</a:t>
            </a:fld>
            <a:endParaRPr lang="zh-CN" altLang="en-US" sz="2400">
              <a:solidFill>
                <a:schemeClr val="tx1"/>
              </a:solidFill>
            </a:endParaRPr>
          </a:p>
        </p:txBody>
      </p:sp>
      <p:sp>
        <p:nvSpPr>
          <p:cNvPr id="5" name="页脚占位符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zh-CN"/>
          </a:p>
        </p:txBody>
      </p:sp>
      <p:sp>
        <p:nvSpPr>
          <p:cNvPr id="6" name="灯片编号占位符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03D631-D2CD-4FAD-AB9E-5AEA4DBFE3B1}" type="slidenum">
              <a:rPr lang="zh-CN" altLang="en-US"/>
              <a:t>‹#›</a:t>
            </a:fld>
            <a:endParaRPr lang="zh-CN" altLang="en-US" sz="2400">
              <a:solidFill>
                <a:schemeClr val="tx1"/>
              </a:solidFill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6" name="图片占位符 5"/>
          <p:cNvSpPr>
            <a:spLocks noGrp="1"/>
          </p:cNvSpPr>
          <p:nvPr>
            <p:ph type="pic" sz="quarter" idx="10"/>
          </p:nvPr>
        </p:nvSpPr>
        <p:spPr>
          <a:xfrm>
            <a:off x="1" y="2"/>
            <a:ext cx="3875840" cy="5661947"/>
          </a:xfrm>
          <a:custGeom>
            <a:avLst/>
            <a:gdLst>
              <a:gd name="connsiteX0" fmla="*/ 0 w 3875840"/>
              <a:gd name="connsiteY0" fmla="*/ 0 h 5661947"/>
              <a:gd name="connsiteX1" fmla="*/ 2121846 w 3875840"/>
              <a:gd name="connsiteY1" fmla="*/ 0 h 5661947"/>
              <a:gd name="connsiteX2" fmla="*/ 3875840 w 3875840"/>
              <a:gd name="connsiteY2" fmla="*/ 1763999 h 5661947"/>
              <a:gd name="connsiteX3" fmla="*/ 0 w 3875840"/>
              <a:gd name="connsiteY3" fmla="*/ 5661947 h 5661947"/>
              <a:gd name="connsiteX4" fmla="*/ 0 w 3875840"/>
              <a:gd name="connsiteY4" fmla="*/ 2561290 h 5661947"/>
              <a:gd name="connsiteX5" fmla="*/ 792769 w 3875840"/>
              <a:gd name="connsiteY5" fmla="*/ 1763999 h 5661947"/>
              <a:gd name="connsiteX6" fmla="*/ 0 w 3875840"/>
              <a:gd name="connsiteY6" fmla="*/ 966708 h 5661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75840" h="5661947">
                <a:moveTo>
                  <a:pt x="0" y="0"/>
                </a:moveTo>
                <a:lnTo>
                  <a:pt x="2121846" y="0"/>
                </a:lnTo>
                <a:lnTo>
                  <a:pt x="3875840" y="1763999"/>
                </a:lnTo>
                <a:lnTo>
                  <a:pt x="0" y="5661947"/>
                </a:lnTo>
                <a:lnTo>
                  <a:pt x="0" y="2561290"/>
                </a:lnTo>
                <a:lnTo>
                  <a:pt x="792769" y="1763999"/>
                </a:lnTo>
                <a:lnTo>
                  <a:pt x="0" y="96670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2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25.xml"/><Relationship Id="rId20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19.xml"/><Relationship Id="rId19" Type="http://schemas.openxmlformats.org/officeDocument/2006/relationships/slideLayout" Target="../slideLayouts/slideLayout28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742F3E-182A-4E42-99A7-A84D607325D2}" type="datetimeFigureOut">
              <a:rPr lang="zh-CN" altLang="en-US" smtClean="0"/>
              <a:t>2021/1/15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1F91D6-B666-4B05-8BB0-A162590E5748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任意多边形: 形状 2"/>
          <p:cNvSpPr/>
          <p:nvPr/>
        </p:nvSpPr>
        <p:spPr>
          <a:xfrm>
            <a:off x="1280650" y="190524"/>
            <a:ext cx="11243770" cy="576000"/>
          </a:xfrm>
          <a:custGeom>
            <a:avLst/>
            <a:gdLst>
              <a:gd name="connsiteX0" fmla="*/ 579285 w 11243770"/>
              <a:gd name="connsiteY0" fmla="*/ 0 h 576000"/>
              <a:gd name="connsiteX1" fmla="*/ 11243770 w 11243770"/>
              <a:gd name="connsiteY1" fmla="*/ 0 h 576000"/>
              <a:gd name="connsiteX2" fmla="*/ 11243770 w 11243770"/>
              <a:gd name="connsiteY2" fmla="*/ 576000 h 576000"/>
              <a:gd name="connsiteX3" fmla="*/ 0 w 11243770"/>
              <a:gd name="connsiteY3" fmla="*/ 576000 h 57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243770" h="576000">
                <a:moveTo>
                  <a:pt x="579285" y="0"/>
                </a:moveTo>
                <a:lnTo>
                  <a:pt x="11243770" y="0"/>
                </a:lnTo>
                <a:lnTo>
                  <a:pt x="11243770" y="576000"/>
                </a:lnTo>
                <a:lnTo>
                  <a:pt x="0" y="576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719128" y="214968"/>
            <a:ext cx="35703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>
                <a:solidFill>
                  <a:prstClr val="black"/>
                </a:solidFill>
                <a:sym typeface="思源黑体" panose="020B0400000000000000" pitchFamily="34" charset="-122"/>
              </a:rPr>
              <a:t>章节标题内容</a:t>
            </a:r>
            <a:r>
              <a:rPr lang="en-US" altLang="zh-CN" sz="2400" dirty="0">
                <a:solidFill>
                  <a:prstClr val="black"/>
                </a:solidFill>
                <a:sym typeface="思源黑体" panose="020B0400000000000000" pitchFamily="34" charset="-122"/>
              </a:rPr>
              <a:t>1</a:t>
            </a:r>
            <a:endParaRPr lang="zh-CN" altLang="en-US" sz="2400" dirty="0">
              <a:solidFill>
                <a:prstClr val="black"/>
              </a:solidFill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766265" y="790968"/>
            <a:ext cx="35703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solidFill>
                  <a:prstClr val="black"/>
                </a:solidFill>
                <a:sym typeface="思源黑体" panose="020B0400000000000000" pitchFamily="34" charset="-122"/>
              </a:rPr>
              <a:t>Use "Title Only" Layout</a:t>
            </a:r>
            <a:endParaRPr lang="zh-CN" altLang="en-US" sz="1400" dirty="0">
              <a:solidFill>
                <a:prstClr val="black"/>
              </a:solidFill>
            </a:endParaRPr>
          </a:p>
        </p:txBody>
      </p:sp>
      <p:sp>
        <p:nvSpPr>
          <p:cNvPr id="6" name="任意多边形: 形状 5"/>
          <p:cNvSpPr/>
          <p:nvPr/>
        </p:nvSpPr>
        <p:spPr>
          <a:xfrm rot="16200000">
            <a:off x="271157" y="-271158"/>
            <a:ext cx="1176814" cy="1719127"/>
          </a:xfrm>
          <a:custGeom>
            <a:avLst/>
            <a:gdLst>
              <a:gd name="connsiteX0" fmla="*/ 1753994 w 3875840"/>
              <a:gd name="connsiteY0" fmla="*/ 0 h 5661947"/>
              <a:gd name="connsiteX1" fmla="*/ 3875840 w 3875840"/>
              <a:gd name="connsiteY1" fmla="*/ 0 h 5661947"/>
              <a:gd name="connsiteX2" fmla="*/ 3875840 w 3875840"/>
              <a:gd name="connsiteY2" fmla="*/ 966708 h 5661947"/>
              <a:gd name="connsiteX3" fmla="*/ 3083071 w 3875840"/>
              <a:gd name="connsiteY3" fmla="*/ 1763999 h 5661947"/>
              <a:gd name="connsiteX4" fmla="*/ 3875840 w 3875840"/>
              <a:gd name="connsiteY4" fmla="*/ 2561290 h 5661947"/>
              <a:gd name="connsiteX5" fmla="*/ 3875840 w 3875840"/>
              <a:gd name="connsiteY5" fmla="*/ 5661947 h 5661947"/>
              <a:gd name="connsiteX6" fmla="*/ 0 w 3875840"/>
              <a:gd name="connsiteY6" fmla="*/ 1763999 h 5661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75840" h="5661947">
                <a:moveTo>
                  <a:pt x="1753994" y="0"/>
                </a:moveTo>
                <a:lnTo>
                  <a:pt x="3875840" y="0"/>
                </a:lnTo>
                <a:lnTo>
                  <a:pt x="3875840" y="966708"/>
                </a:lnTo>
                <a:lnTo>
                  <a:pt x="3083071" y="1763999"/>
                </a:lnTo>
                <a:lnTo>
                  <a:pt x="3875840" y="2561290"/>
                </a:lnTo>
                <a:lnTo>
                  <a:pt x="3875840" y="5661947"/>
                </a:lnTo>
                <a:lnTo>
                  <a:pt x="0" y="1763999"/>
                </a:lnTo>
                <a:close/>
              </a:path>
            </a:pathLst>
          </a:custGeom>
          <a:solidFill>
            <a:schemeClr val="accent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" name="任意多边形: 形状 6"/>
          <p:cNvSpPr/>
          <p:nvPr/>
        </p:nvSpPr>
        <p:spPr>
          <a:xfrm>
            <a:off x="3101301" y="6454556"/>
            <a:ext cx="5989398" cy="425840"/>
          </a:xfrm>
          <a:custGeom>
            <a:avLst/>
            <a:gdLst>
              <a:gd name="connsiteX0" fmla="*/ 579285 w 8101394"/>
              <a:gd name="connsiteY0" fmla="*/ 0 h 576000"/>
              <a:gd name="connsiteX1" fmla="*/ 7522108 w 8101394"/>
              <a:gd name="connsiteY1" fmla="*/ 0 h 576000"/>
              <a:gd name="connsiteX2" fmla="*/ 8101394 w 8101394"/>
              <a:gd name="connsiteY2" fmla="*/ 576000 h 576000"/>
              <a:gd name="connsiteX3" fmla="*/ 0 w 8101394"/>
              <a:gd name="connsiteY3" fmla="*/ 576000 h 57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01394" h="576000">
                <a:moveTo>
                  <a:pt x="579285" y="0"/>
                </a:moveTo>
                <a:lnTo>
                  <a:pt x="7522108" y="0"/>
                </a:lnTo>
                <a:lnTo>
                  <a:pt x="8101394" y="576000"/>
                </a:lnTo>
                <a:lnTo>
                  <a:pt x="0" y="576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  <p:sldLayoutId id="2147483672" r:id="rId14"/>
    <p:sldLayoutId id="2147483673" r:id="rId15"/>
    <p:sldLayoutId id="2147483674" r:id="rId16"/>
    <p:sldLayoutId id="2147483675" r:id="rId17"/>
    <p:sldLayoutId id="2147483676" r:id="rId18"/>
    <p:sldLayoutId id="2147483677" r:id="rId19"/>
    <p:sldLayoutId id="2147483678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3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8.xml"/><Relationship Id="rId11" Type="http://schemas.openxmlformats.org/officeDocument/2006/relationships/image" Target="../media/image3.png"/><Relationship Id="rId5" Type="http://schemas.openxmlformats.org/officeDocument/2006/relationships/audio" Target="../media/media1.mp3"/><Relationship Id="rId10" Type="http://schemas.openxmlformats.org/officeDocument/2006/relationships/image" Target="../media/image1.emf"/><Relationship Id="rId4" Type="http://schemas.microsoft.com/office/2007/relationships/media" Target="../media/media1.mp3"/><Relationship Id="rId9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7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8.xml"/><Relationship Id="rId11" Type="http://schemas.openxmlformats.org/officeDocument/2006/relationships/image" Target="../media/image3.png"/><Relationship Id="rId5" Type="http://schemas.openxmlformats.org/officeDocument/2006/relationships/audio" Target="../media/media1.mp3"/><Relationship Id="rId10" Type="http://schemas.openxmlformats.org/officeDocument/2006/relationships/image" Target="../media/image1.emf"/><Relationship Id="rId4" Type="http://schemas.microsoft.com/office/2007/relationships/media" Target="../media/media1.mp3"/><Relationship Id="rId9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909" b="32800"/>
          <a:stretch>
            <a:fillRect/>
          </a:stretch>
        </p:blipFill>
        <p:spPr>
          <a:xfrm>
            <a:off x="-1" y="-8389"/>
            <a:ext cx="12175933" cy="3674052"/>
          </a:xfrm>
          <a:prstGeom prst="rect">
            <a:avLst/>
          </a:prstGeom>
        </p:spPr>
      </p:pic>
      <p:sp>
        <p:nvSpPr>
          <p:cNvPr id="56" name="任意多边形: 形状 116"/>
          <p:cNvSpPr/>
          <p:nvPr/>
        </p:nvSpPr>
        <p:spPr>
          <a:xfrm>
            <a:off x="-9525" y="-612138"/>
            <a:ext cx="13547325" cy="7470138"/>
          </a:xfrm>
          <a:custGeom>
            <a:avLst/>
            <a:gdLst>
              <a:gd name="connsiteX0" fmla="*/ 6784541 w 13547325"/>
              <a:gd name="connsiteY0" fmla="*/ 726212 h 7470138"/>
              <a:gd name="connsiteX1" fmla="*/ 6784542 w 13547325"/>
              <a:gd name="connsiteY1" fmla="*/ 726212 h 7470138"/>
              <a:gd name="connsiteX2" fmla="*/ 0 w 13547325"/>
              <a:gd name="connsiteY2" fmla="*/ 3082491 h 7470138"/>
              <a:gd name="connsiteX3" fmla="*/ 0 w 13547325"/>
              <a:gd name="connsiteY3" fmla="*/ 3082490 h 7470138"/>
              <a:gd name="connsiteX4" fmla="*/ 9766501 w 13547325"/>
              <a:gd name="connsiteY4" fmla="*/ 0 h 7470138"/>
              <a:gd name="connsiteX5" fmla="*/ 13547325 w 13547325"/>
              <a:gd name="connsiteY5" fmla="*/ 0 h 7470138"/>
              <a:gd name="connsiteX6" fmla="*/ 13547325 w 13547325"/>
              <a:gd name="connsiteY6" fmla="*/ 457133 h 7470138"/>
              <a:gd name="connsiteX7" fmla="*/ 12201525 w 13547325"/>
              <a:gd name="connsiteY7" fmla="*/ 1006558 h 7470138"/>
              <a:gd name="connsiteX8" fmla="*/ 12201525 w 13547325"/>
              <a:gd name="connsiteY8" fmla="*/ 1012390 h 7470138"/>
              <a:gd name="connsiteX9" fmla="*/ 12201525 w 13547325"/>
              <a:gd name="connsiteY9" fmla="*/ 2876367 h 7470138"/>
              <a:gd name="connsiteX10" fmla="*/ 12201525 w 13547325"/>
              <a:gd name="connsiteY10" fmla="*/ 7470138 h 7470138"/>
              <a:gd name="connsiteX11" fmla="*/ 0 w 13547325"/>
              <a:gd name="connsiteY11" fmla="*/ 7470138 h 7470138"/>
              <a:gd name="connsiteX12" fmla="*/ 0 w 13547325"/>
              <a:gd name="connsiteY12" fmla="*/ 7205229 h 7470138"/>
              <a:gd name="connsiteX13" fmla="*/ 3727981 w 13547325"/>
              <a:gd name="connsiteY13" fmla="*/ 4458584 h 7470138"/>
              <a:gd name="connsiteX14" fmla="*/ 3759358 w 13547325"/>
              <a:gd name="connsiteY14" fmla="*/ 4445823 h 7470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3547325" h="7470138">
                <a:moveTo>
                  <a:pt x="6784541" y="726212"/>
                </a:moveTo>
                <a:lnTo>
                  <a:pt x="6784542" y="726212"/>
                </a:lnTo>
                <a:lnTo>
                  <a:pt x="0" y="3082491"/>
                </a:lnTo>
                <a:lnTo>
                  <a:pt x="0" y="3082490"/>
                </a:lnTo>
                <a:close/>
                <a:moveTo>
                  <a:pt x="9766501" y="0"/>
                </a:moveTo>
                <a:lnTo>
                  <a:pt x="13547325" y="0"/>
                </a:lnTo>
                <a:lnTo>
                  <a:pt x="13547325" y="457133"/>
                </a:lnTo>
                <a:lnTo>
                  <a:pt x="12201525" y="1006558"/>
                </a:lnTo>
                <a:lnTo>
                  <a:pt x="12201525" y="1012390"/>
                </a:lnTo>
                <a:lnTo>
                  <a:pt x="12201525" y="2876367"/>
                </a:lnTo>
                <a:lnTo>
                  <a:pt x="12201525" y="7470138"/>
                </a:lnTo>
                <a:lnTo>
                  <a:pt x="0" y="7470138"/>
                </a:lnTo>
                <a:lnTo>
                  <a:pt x="0" y="7205229"/>
                </a:lnTo>
                <a:lnTo>
                  <a:pt x="3727981" y="4458584"/>
                </a:lnTo>
                <a:lnTo>
                  <a:pt x="3759358" y="4445823"/>
                </a:lnTo>
                <a:close/>
              </a:path>
            </a:pathLst>
          </a:cu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grpSp>
        <p:nvGrpSpPr>
          <p:cNvPr id="245" name="组合 244"/>
          <p:cNvGrpSpPr/>
          <p:nvPr/>
        </p:nvGrpSpPr>
        <p:grpSpPr>
          <a:xfrm rot="20786218">
            <a:off x="-4430173" y="-5522174"/>
            <a:ext cx="13989138" cy="13241877"/>
            <a:chOff x="4892854" y="-5729600"/>
            <a:chExt cx="13778604" cy="7927330"/>
          </a:xfrm>
        </p:grpSpPr>
        <p:cxnSp>
          <p:nvCxnSpPr>
            <p:cNvPr id="202" name="直接连接符 201"/>
            <p:cNvCxnSpPr/>
            <p:nvPr/>
          </p:nvCxnSpPr>
          <p:spPr>
            <a:xfrm flipV="1">
              <a:off x="8306719" y="-2979174"/>
              <a:ext cx="10364739" cy="4992677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  <a:alpha val="1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直接连接符 204"/>
            <p:cNvCxnSpPr/>
            <p:nvPr/>
          </p:nvCxnSpPr>
          <p:spPr>
            <a:xfrm flipV="1">
              <a:off x="8223455" y="-3046257"/>
              <a:ext cx="10244930" cy="5064254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直接连接符 205"/>
            <p:cNvCxnSpPr/>
            <p:nvPr/>
          </p:nvCxnSpPr>
          <p:spPr>
            <a:xfrm flipV="1">
              <a:off x="8140189" y="-3113341"/>
              <a:ext cx="10125121" cy="5135831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直接连接符 206"/>
            <p:cNvCxnSpPr/>
            <p:nvPr/>
          </p:nvCxnSpPr>
          <p:spPr>
            <a:xfrm flipV="1">
              <a:off x="8056924" y="-3180425"/>
              <a:ext cx="10005312" cy="5207408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直接连接符 207"/>
            <p:cNvCxnSpPr/>
            <p:nvPr/>
          </p:nvCxnSpPr>
          <p:spPr>
            <a:xfrm flipV="1">
              <a:off x="7973659" y="-3247508"/>
              <a:ext cx="9885503" cy="5278985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直接连接符 208"/>
            <p:cNvCxnSpPr/>
            <p:nvPr/>
          </p:nvCxnSpPr>
          <p:spPr>
            <a:xfrm flipV="1">
              <a:off x="7890394" y="-3314592"/>
              <a:ext cx="9765694" cy="5350561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直接连接符 209"/>
            <p:cNvCxnSpPr/>
            <p:nvPr/>
          </p:nvCxnSpPr>
          <p:spPr>
            <a:xfrm flipV="1">
              <a:off x="7807130" y="-3381675"/>
              <a:ext cx="9645886" cy="5422138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直接连接符 210"/>
            <p:cNvCxnSpPr/>
            <p:nvPr/>
          </p:nvCxnSpPr>
          <p:spPr>
            <a:xfrm flipV="1">
              <a:off x="7723864" y="-3448759"/>
              <a:ext cx="9526077" cy="5493715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直接连接符 211"/>
            <p:cNvCxnSpPr/>
            <p:nvPr/>
          </p:nvCxnSpPr>
          <p:spPr>
            <a:xfrm flipV="1">
              <a:off x="7640600" y="-3515842"/>
              <a:ext cx="9406268" cy="5565292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直接连接符 212"/>
            <p:cNvCxnSpPr/>
            <p:nvPr/>
          </p:nvCxnSpPr>
          <p:spPr>
            <a:xfrm flipV="1">
              <a:off x="7557334" y="-3582926"/>
              <a:ext cx="9286459" cy="5636869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直接连接符 213"/>
            <p:cNvCxnSpPr/>
            <p:nvPr/>
          </p:nvCxnSpPr>
          <p:spPr>
            <a:xfrm flipV="1">
              <a:off x="7474069" y="-3650009"/>
              <a:ext cx="9166650" cy="5708446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直接连接符 214"/>
            <p:cNvCxnSpPr/>
            <p:nvPr/>
          </p:nvCxnSpPr>
          <p:spPr>
            <a:xfrm flipV="1">
              <a:off x="7390804" y="-3717093"/>
              <a:ext cx="9046841" cy="5780023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直接连接符 215"/>
            <p:cNvCxnSpPr/>
            <p:nvPr/>
          </p:nvCxnSpPr>
          <p:spPr>
            <a:xfrm flipV="1">
              <a:off x="7307539" y="-3784177"/>
              <a:ext cx="8927032" cy="5851600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直接连接符 216"/>
            <p:cNvCxnSpPr/>
            <p:nvPr/>
          </p:nvCxnSpPr>
          <p:spPr>
            <a:xfrm flipV="1">
              <a:off x="7224275" y="-3851260"/>
              <a:ext cx="8807223" cy="5923177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直接连接符 217"/>
            <p:cNvCxnSpPr/>
            <p:nvPr/>
          </p:nvCxnSpPr>
          <p:spPr>
            <a:xfrm flipV="1">
              <a:off x="7141009" y="-3918344"/>
              <a:ext cx="8687414" cy="5994754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直接连接符 218"/>
            <p:cNvCxnSpPr/>
            <p:nvPr/>
          </p:nvCxnSpPr>
          <p:spPr>
            <a:xfrm flipV="1">
              <a:off x="7057744" y="-3985427"/>
              <a:ext cx="8567605" cy="6066330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直接连接符 219"/>
            <p:cNvCxnSpPr/>
            <p:nvPr/>
          </p:nvCxnSpPr>
          <p:spPr>
            <a:xfrm flipV="1">
              <a:off x="6974479" y="-4052511"/>
              <a:ext cx="8447797" cy="6137908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直接连接符 220"/>
            <p:cNvCxnSpPr/>
            <p:nvPr/>
          </p:nvCxnSpPr>
          <p:spPr>
            <a:xfrm flipV="1">
              <a:off x="6891214" y="-4119594"/>
              <a:ext cx="8327988" cy="6209485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直接连接符 221"/>
            <p:cNvCxnSpPr/>
            <p:nvPr/>
          </p:nvCxnSpPr>
          <p:spPr>
            <a:xfrm flipV="1">
              <a:off x="6807950" y="-4186678"/>
              <a:ext cx="8208179" cy="6281061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直接连接符 222"/>
            <p:cNvCxnSpPr/>
            <p:nvPr/>
          </p:nvCxnSpPr>
          <p:spPr>
            <a:xfrm flipV="1">
              <a:off x="6724684" y="-4253762"/>
              <a:ext cx="8088370" cy="6352638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直接连接符 223"/>
            <p:cNvCxnSpPr/>
            <p:nvPr/>
          </p:nvCxnSpPr>
          <p:spPr>
            <a:xfrm flipV="1">
              <a:off x="6641419" y="-4320845"/>
              <a:ext cx="7968561" cy="6424215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直接连接符 224"/>
            <p:cNvCxnSpPr/>
            <p:nvPr/>
          </p:nvCxnSpPr>
          <p:spPr>
            <a:xfrm flipV="1">
              <a:off x="6558154" y="-4387929"/>
              <a:ext cx="7848752" cy="6495792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直接连接符 225"/>
            <p:cNvCxnSpPr/>
            <p:nvPr/>
          </p:nvCxnSpPr>
          <p:spPr>
            <a:xfrm flipV="1">
              <a:off x="6474889" y="-4455012"/>
              <a:ext cx="7728943" cy="6567369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7" name="直接连接符 226"/>
            <p:cNvCxnSpPr/>
            <p:nvPr/>
          </p:nvCxnSpPr>
          <p:spPr>
            <a:xfrm flipV="1">
              <a:off x="6391624" y="-4522096"/>
              <a:ext cx="7609134" cy="6638946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直接连接符 227"/>
            <p:cNvCxnSpPr/>
            <p:nvPr/>
          </p:nvCxnSpPr>
          <p:spPr>
            <a:xfrm flipV="1">
              <a:off x="6308359" y="-4589180"/>
              <a:ext cx="7489325" cy="6710523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直接连接符 228"/>
            <p:cNvCxnSpPr/>
            <p:nvPr/>
          </p:nvCxnSpPr>
          <p:spPr>
            <a:xfrm flipV="1">
              <a:off x="6225094" y="-4656263"/>
              <a:ext cx="7369516" cy="6782100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直接连接符 229"/>
            <p:cNvCxnSpPr/>
            <p:nvPr/>
          </p:nvCxnSpPr>
          <p:spPr>
            <a:xfrm flipV="1">
              <a:off x="6141829" y="-4723347"/>
              <a:ext cx="7249708" cy="6853676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直接连接符 230"/>
            <p:cNvCxnSpPr/>
            <p:nvPr/>
          </p:nvCxnSpPr>
          <p:spPr>
            <a:xfrm flipV="1">
              <a:off x="6058564" y="-4790430"/>
              <a:ext cx="7129899" cy="6925253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直接连接符 231"/>
            <p:cNvCxnSpPr/>
            <p:nvPr/>
          </p:nvCxnSpPr>
          <p:spPr>
            <a:xfrm flipV="1">
              <a:off x="5975299" y="-4857514"/>
              <a:ext cx="7010090" cy="6996830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直接连接符 232"/>
            <p:cNvCxnSpPr/>
            <p:nvPr/>
          </p:nvCxnSpPr>
          <p:spPr>
            <a:xfrm flipV="1">
              <a:off x="5892034" y="-4924597"/>
              <a:ext cx="6890281" cy="7068407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直接连接符 233"/>
            <p:cNvCxnSpPr/>
            <p:nvPr/>
          </p:nvCxnSpPr>
          <p:spPr>
            <a:xfrm flipV="1">
              <a:off x="5808769" y="-4991681"/>
              <a:ext cx="6770472" cy="7139984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直接连接符 234"/>
            <p:cNvCxnSpPr/>
            <p:nvPr/>
          </p:nvCxnSpPr>
          <p:spPr>
            <a:xfrm flipV="1">
              <a:off x="5725504" y="-5058764"/>
              <a:ext cx="6650663" cy="7211561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直接连接符 235"/>
            <p:cNvCxnSpPr/>
            <p:nvPr/>
          </p:nvCxnSpPr>
          <p:spPr>
            <a:xfrm flipV="1">
              <a:off x="5642239" y="-5125848"/>
              <a:ext cx="6530854" cy="7283138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直接连接符 236"/>
            <p:cNvCxnSpPr/>
            <p:nvPr/>
          </p:nvCxnSpPr>
          <p:spPr>
            <a:xfrm flipV="1">
              <a:off x="5558974" y="-5192931"/>
              <a:ext cx="6411045" cy="7354715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直接连接符 237"/>
            <p:cNvCxnSpPr/>
            <p:nvPr/>
          </p:nvCxnSpPr>
          <p:spPr>
            <a:xfrm flipV="1">
              <a:off x="5475709" y="-5260015"/>
              <a:ext cx="6291237" cy="7426292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直接连接符 238"/>
            <p:cNvCxnSpPr/>
            <p:nvPr/>
          </p:nvCxnSpPr>
          <p:spPr>
            <a:xfrm flipV="1">
              <a:off x="5392444" y="-5327098"/>
              <a:ext cx="6171428" cy="7497869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直接连接符 239"/>
            <p:cNvCxnSpPr/>
            <p:nvPr/>
          </p:nvCxnSpPr>
          <p:spPr>
            <a:xfrm flipV="1">
              <a:off x="5309179" y="-5394182"/>
              <a:ext cx="6051619" cy="7569446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直接连接符 240"/>
            <p:cNvCxnSpPr/>
            <p:nvPr/>
          </p:nvCxnSpPr>
          <p:spPr>
            <a:xfrm flipV="1">
              <a:off x="5225914" y="-5461265"/>
              <a:ext cx="5931810" cy="7641023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直接连接符 241"/>
            <p:cNvCxnSpPr/>
            <p:nvPr/>
          </p:nvCxnSpPr>
          <p:spPr>
            <a:xfrm flipV="1">
              <a:off x="5142649" y="-5528349"/>
              <a:ext cx="5812001" cy="7712599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直接连接符 242"/>
            <p:cNvCxnSpPr/>
            <p:nvPr/>
          </p:nvCxnSpPr>
          <p:spPr>
            <a:xfrm flipV="1">
              <a:off x="5059384" y="-5595433"/>
              <a:ext cx="5692192" cy="7784176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直接连接符 243"/>
            <p:cNvCxnSpPr/>
            <p:nvPr/>
          </p:nvCxnSpPr>
          <p:spPr>
            <a:xfrm flipV="1">
              <a:off x="4976119" y="-5662516"/>
              <a:ext cx="5572383" cy="7855753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直接连接符 202"/>
            <p:cNvCxnSpPr/>
            <p:nvPr/>
          </p:nvCxnSpPr>
          <p:spPr>
            <a:xfrm flipV="1">
              <a:off x="4892854" y="-5729600"/>
              <a:ext cx="5452574" cy="792733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  <a:alpha val="1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2" name="think-cell Slide" r:id="rId9" imgW="9525" imgH="9525" progId="TCLayout.ActiveDocument.1">
                  <p:embed/>
                </p:oleObj>
              </mc:Choice>
              <mc:Fallback>
                <p:oleObj name="think-cell Slide" r:id="rId9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 idx="4294967295"/>
          </p:nvPr>
        </p:nvSpPr>
        <p:spPr>
          <a:xfrm>
            <a:off x="2707909" y="3423097"/>
            <a:ext cx="8751995" cy="1136902"/>
          </a:xfrm>
        </p:spPr>
        <p:txBody>
          <a:bodyPr>
            <a:normAutofit/>
          </a:bodyPr>
          <a:lstStyle/>
          <a:p>
            <a:pPr algn="r"/>
            <a:r>
              <a:rPr lang="zh-CN" altLang="en-US" sz="6000" b="1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*********</a:t>
            </a:r>
            <a:endParaRPr lang="zh-CN" altLang="en-US" sz="6000" b="1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grpSp>
        <p:nvGrpSpPr>
          <p:cNvPr id="246" name="组合 245"/>
          <p:cNvGrpSpPr/>
          <p:nvPr/>
        </p:nvGrpSpPr>
        <p:grpSpPr>
          <a:xfrm rot="21325445">
            <a:off x="-1698226" y="-593088"/>
            <a:ext cx="15216976" cy="5764465"/>
            <a:chOff x="-1698226" y="-593088"/>
            <a:chExt cx="15216976" cy="5764465"/>
          </a:xfrm>
        </p:grpSpPr>
        <p:sp>
          <p:nvSpPr>
            <p:cNvPr id="198" name="任意多边形: 形状 197"/>
            <p:cNvSpPr/>
            <p:nvPr/>
          </p:nvSpPr>
          <p:spPr bwMode="auto">
            <a:xfrm>
              <a:off x="5967007" y="-593088"/>
              <a:ext cx="7551743" cy="2790818"/>
            </a:xfrm>
            <a:custGeom>
              <a:avLst/>
              <a:gdLst>
                <a:gd name="connsiteX0" fmla="*/ 3770919 w 7551743"/>
                <a:gd name="connsiteY0" fmla="*/ 0 h 2790818"/>
                <a:gd name="connsiteX1" fmla="*/ 7551743 w 7551743"/>
                <a:gd name="connsiteY1" fmla="*/ 0 h 2790818"/>
                <a:gd name="connsiteX2" fmla="*/ 7551743 w 7551743"/>
                <a:gd name="connsiteY2" fmla="*/ 457133 h 2790818"/>
                <a:gd name="connsiteX3" fmla="*/ 2223033 w 7551743"/>
                <a:gd name="connsiteY3" fmla="*/ 2632589 h 2790818"/>
                <a:gd name="connsiteX4" fmla="*/ 0 w 7551743"/>
                <a:gd name="connsiteY4" fmla="*/ 2790818 h 2790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1743" h="2790818">
                  <a:moveTo>
                    <a:pt x="3770919" y="0"/>
                  </a:moveTo>
                  <a:lnTo>
                    <a:pt x="7551743" y="0"/>
                  </a:lnTo>
                  <a:lnTo>
                    <a:pt x="7551743" y="457133"/>
                  </a:lnTo>
                  <a:lnTo>
                    <a:pt x="2223033" y="2632589"/>
                  </a:lnTo>
                  <a:lnTo>
                    <a:pt x="0" y="2790818"/>
                  </a:lnTo>
                  <a:close/>
                </a:path>
              </a:pathLst>
            </a:custGeom>
            <a:gradFill>
              <a:gsLst>
                <a:gs pos="5000">
                  <a:schemeClr val="accent1"/>
                </a:gs>
                <a:gs pos="100000">
                  <a:schemeClr val="accent2"/>
                </a:gs>
              </a:gsLst>
              <a:lin ang="27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54" name="任意多边形: 形状 153"/>
            <p:cNvSpPr/>
            <p:nvPr/>
          </p:nvSpPr>
          <p:spPr bwMode="auto">
            <a:xfrm>
              <a:off x="-1698226" y="2013503"/>
              <a:ext cx="10004945" cy="3157874"/>
            </a:xfrm>
            <a:custGeom>
              <a:avLst/>
              <a:gdLst>
                <a:gd name="connsiteX0" fmla="*/ 0 w 7084765"/>
                <a:gd name="connsiteY0" fmla="*/ 0 h 2460546"/>
                <a:gd name="connsiteX1" fmla="*/ 7084765 w 7084765"/>
                <a:gd name="connsiteY1" fmla="*/ 0 h 2460546"/>
                <a:gd name="connsiteX2" fmla="*/ 0 w 7084765"/>
                <a:gd name="connsiteY2" fmla="*/ 2460546 h 2460546"/>
                <a:gd name="connsiteX0-1" fmla="*/ 2920180 w 10004945"/>
                <a:gd name="connsiteY0-2" fmla="*/ 0 h 3133800"/>
                <a:gd name="connsiteX1-3" fmla="*/ 10004945 w 10004945"/>
                <a:gd name="connsiteY1-4" fmla="*/ 0 h 3133800"/>
                <a:gd name="connsiteX2-5" fmla="*/ 0 w 10004945"/>
                <a:gd name="connsiteY2-6" fmla="*/ 3133800 h 3133800"/>
                <a:gd name="connsiteX3" fmla="*/ 2920180 w 10004945"/>
                <a:gd name="connsiteY3" fmla="*/ 0 h 3133800"/>
                <a:gd name="connsiteX0-7" fmla="*/ 58993 w 10004945"/>
                <a:gd name="connsiteY0-8" fmla="*/ 702526 h 3133800"/>
                <a:gd name="connsiteX1-9" fmla="*/ 10004945 w 10004945"/>
                <a:gd name="connsiteY1-10" fmla="*/ 0 h 3133800"/>
                <a:gd name="connsiteX2-11" fmla="*/ 0 w 10004945"/>
                <a:gd name="connsiteY2-12" fmla="*/ 3133800 h 3133800"/>
                <a:gd name="connsiteX3-13" fmla="*/ 58993 w 10004945"/>
                <a:gd name="connsiteY3-14" fmla="*/ 702526 h 3133800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13" y="connsiteY3-14"/>
                </a:cxn>
              </a:cxnLst>
              <a:rect l="l" t="t" r="r" b="b"/>
              <a:pathLst>
                <a:path w="10004945" h="3133800">
                  <a:moveTo>
                    <a:pt x="58993" y="702526"/>
                  </a:moveTo>
                  <a:lnTo>
                    <a:pt x="10004945" y="0"/>
                  </a:lnTo>
                  <a:lnTo>
                    <a:pt x="0" y="3133800"/>
                  </a:lnTo>
                  <a:cubicBezTo>
                    <a:pt x="0" y="2313618"/>
                    <a:pt x="58993" y="1522708"/>
                    <a:pt x="58993" y="702526"/>
                  </a:cubicBezTo>
                  <a:close/>
                </a:path>
              </a:pathLst>
            </a:custGeom>
            <a:solidFill>
              <a:srgbClr val="5ACE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 dirty="0"/>
            </a:p>
          </p:txBody>
        </p:sp>
      </p:grpSp>
      <p:pic>
        <p:nvPicPr>
          <p:cNvPr id="54" name="悠扬婉转充满希望的钢琴乐配乐音频_编号34358262">
            <a:hlinkClick r:id="" action="ppaction://media"/>
          </p:cNvPr>
          <p:cNvPicPr>
            <a:picLocks noChangeAspect="1"/>
          </p:cNvPicPr>
          <p:nvPr>
            <a:audioFile r:link="rId5"/>
            <p:extLst>
              <p:ext uri="{DAA4B4D4-6D71-4841-9C94-3DE7FCFB9230}">
                <p14:media xmlns:p14="http://schemas.microsoft.com/office/powerpoint/2010/main" r:embed="rId4">
                  <p14:fade in="250" out="250"/>
                </p14:media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-4153441" y="-1495706"/>
            <a:ext cx="609600" cy="6096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2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2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numSld="999">
                <p:cTn id="17" repeatCount="indefinite" fill="remove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4"/>
                </p:tgtEl>
              </p:cMediaNode>
            </p:audio>
          </p:childTnLst>
        </p:cTn>
      </p:par>
    </p:tnLst>
    <p:bldLst>
      <p:bldP spid="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圆角矩形 7"/>
          <p:cNvSpPr/>
          <p:nvPr/>
        </p:nvSpPr>
        <p:spPr>
          <a:xfrm>
            <a:off x="1721708" y="238897"/>
            <a:ext cx="6787978" cy="764654"/>
          </a:xfrm>
          <a:prstGeom prst="roundRect">
            <a:avLst>
              <a:gd name="adj" fmla="val 50000"/>
            </a:avLst>
          </a:prstGeom>
          <a:noFill/>
          <a:ln>
            <a:solidFill>
              <a:srgbClr val="FF8B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任意多边形: 形状 28"/>
          <p:cNvSpPr/>
          <p:nvPr/>
        </p:nvSpPr>
        <p:spPr>
          <a:xfrm>
            <a:off x="0" y="2466058"/>
            <a:ext cx="4367034" cy="4391943"/>
          </a:xfrm>
          <a:custGeom>
            <a:avLst/>
            <a:gdLst>
              <a:gd name="connsiteX0" fmla="*/ 0 w 4367034"/>
              <a:gd name="connsiteY0" fmla="*/ 0 h 4391943"/>
              <a:gd name="connsiteX1" fmla="*/ 4367034 w 4367034"/>
              <a:gd name="connsiteY1" fmla="*/ 4391943 h 4391943"/>
              <a:gd name="connsiteX2" fmla="*/ 0 w 4367034"/>
              <a:gd name="connsiteY2" fmla="*/ 4391943 h 43919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67034" h="4391943">
                <a:moveTo>
                  <a:pt x="0" y="0"/>
                </a:moveTo>
                <a:lnTo>
                  <a:pt x="4367034" y="4391943"/>
                </a:lnTo>
                <a:lnTo>
                  <a:pt x="0" y="4391943"/>
                </a:lnTo>
                <a:close/>
              </a:path>
            </a:pathLst>
          </a:custGeom>
          <a:solidFill>
            <a:srgbClr val="2252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图片 5130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思源黑体" panose="020B0400000000000000" pitchFamily="34" charset="-122"/>
              <a:ea typeface="思源黑体" panose="020B0400000000000000" pitchFamily="34" charset="-122"/>
              <a:cs typeface="+mj-cs"/>
              <a:sym typeface="思源黑体" panose="020B0400000000000000" pitchFamily="34" charset="-122"/>
            </a:endParaRPr>
          </a:p>
        </p:txBody>
      </p:sp>
      <p:sp>
        <p:nvSpPr>
          <p:cNvPr id="9" name="矩形 8"/>
          <p:cNvSpPr/>
          <p:nvPr/>
        </p:nvSpPr>
        <p:spPr>
          <a:xfrm rot="2700000">
            <a:off x="2742339" y="2466058"/>
            <a:ext cx="2489400" cy="24894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32" name="矩形 31"/>
          <p:cNvSpPr/>
          <p:nvPr/>
        </p:nvSpPr>
        <p:spPr>
          <a:xfrm>
            <a:off x="3279153" y="2879761"/>
            <a:ext cx="141577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4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思源黑体" panose="020B0400000000000000" pitchFamily="34" charset="-122"/>
              </a:rPr>
              <a:t>目录</a:t>
            </a:r>
            <a:endParaRPr lang="en-US" altLang="zh-CN" sz="48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思源黑体" panose="020B0400000000000000" pitchFamily="34" charset="-122"/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2965766" y="3696357"/>
            <a:ext cx="219489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8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思源黑体" panose="020B0400000000000000" pitchFamily="34" charset="-122"/>
              </a:rPr>
              <a:t>CONTENTS</a:t>
            </a:r>
          </a:p>
        </p:txBody>
      </p:sp>
      <p:sp>
        <p:nvSpPr>
          <p:cNvPr id="36" name="矩形 35"/>
          <p:cNvSpPr/>
          <p:nvPr/>
        </p:nvSpPr>
        <p:spPr>
          <a:xfrm>
            <a:off x="6358878" y="1814285"/>
            <a:ext cx="683260" cy="683260"/>
          </a:xfrm>
          <a:prstGeom prst="rect">
            <a:avLst/>
          </a:prstGeom>
          <a:noFill/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4.1</a:t>
            </a:r>
            <a:endParaRPr lang="en-US" altLang="zh-CN" sz="2400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7" name="文本框 36"/>
          <p:cNvSpPr txBox="1"/>
          <p:nvPr/>
        </p:nvSpPr>
        <p:spPr>
          <a:xfrm>
            <a:off x="7228828" y="1955777"/>
            <a:ext cx="36576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***********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6358878" y="2846130"/>
            <a:ext cx="683260" cy="683260"/>
          </a:xfrm>
          <a:prstGeom prst="rect">
            <a:avLst/>
          </a:prstGeom>
          <a:noFill/>
          <a:ln w="15875">
            <a:solidFill>
              <a:srgbClr val="FF8B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 smtClean="0">
                <a:solidFill>
                  <a:srgbClr val="FF8B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4.2</a:t>
            </a:r>
            <a:endParaRPr lang="en-US" altLang="zh-CN" sz="2400" b="1" dirty="0">
              <a:solidFill>
                <a:srgbClr val="FF8B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6358878" y="3877974"/>
            <a:ext cx="683260" cy="683260"/>
          </a:xfrm>
          <a:prstGeom prst="rect">
            <a:avLst/>
          </a:prstGeom>
          <a:noFill/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4.3</a:t>
            </a:r>
            <a:endParaRPr lang="en-US" altLang="zh-CN" sz="2400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6358878" y="4906645"/>
            <a:ext cx="683260" cy="683260"/>
          </a:xfrm>
          <a:prstGeom prst="rect">
            <a:avLst/>
          </a:prstGeom>
          <a:noFill/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b="1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4.4</a:t>
            </a:r>
            <a:endParaRPr lang="en-US" altLang="zh-CN" sz="2400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1" name="文本框 40"/>
          <p:cNvSpPr txBox="1"/>
          <p:nvPr/>
        </p:nvSpPr>
        <p:spPr>
          <a:xfrm>
            <a:off x="7228828" y="2987650"/>
            <a:ext cx="36576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rgbClr val="FF8B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************</a:t>
            </a:r>
            <a:endParaRPr lang="zh-CN" altLang="en-US" sz="2000" dirty="0">
              <a:solidFill>
                <a:srgbClr val="FF8B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2" name="文本框 41"/>
          <p:cNvSpPr txBox="1"/>
          <p:nvPr/>
        </p:nvSpPr>
        <p:spPr>
          <a:xfrm>
            <a:off x="7228828" y="4019522"/>
            <a:ext cx="36576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*************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3" name="文本框 42"/>
          <p:cNvSpPr txBox="1"/>
          <p:nvPr/>
        </p:nvSpPr>
        <p:spPr>
          <a:xfrm>
            <a:off x="7228828" y="5048220"/>
            <a:ext cx="36576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**************</a:t>
            </a:r>
            <a:endParaRPr lang="zh-CN" altLang="en-US" sz="20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651" y="0"/>
            <a:ext cx="3876211" cy="5661949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3950221" y="359614"/>
            <a:ext cx="281679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dirty="0">
                <a:solidFill>
                  <a:srgbClr val="FF8B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zihun54hao-xianhei" panose="00000500000000000000" pitchFamily="2" charset="-122"/>
              </a:rPr>
              <a:t>第四</a:t>
            </a:r>
            <a:r>
              <a:rPr lang="zh-CN" altLang="en-US" sz="2800" b="1" dirty="0" smtClean="0">
                <a:solidFill>
                  <a:srgbClr val="FF8B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zihun54hao-xianhei" panose="00000500000000000000" pitchFamily="2" charset="-122"/>
              </a:rPr>
              <a:t>章</a:t>
            </a:r>
            <a:r>
              <a:rPr lang="en-US" altLang="zh-CN" sz="2800" b="1" dirty="0" smtClean="0">
                <a:solidFill>
                  <a:srgbClr val="FF8B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zihun54hao-xianhei" panose="00000500000000000000" pitchFamily="2" charset="-122"/>
              </a:rPr>
              <a:t>-</a:t>
            </a:r>
            <a:r>
              <a:rPr lang="zh-CN" altLang="en-US" sz="2800" b="1" dirty="0" smtClean="0">
                <a:solidFill>
                  <a:srgbClr val="FF8B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zihun54hao-xianhei" panose="00000500000000000000" pitchFamily="2" charset="-122"/>
              </a:rPr>
              <a:t>********</a:t>
            </a:r>
            <a:endParaRPr lang="zh-CN" altLang="en-US" sz="2800" b="1" dirty="0">
              <a:solidFill>
                <a:srgbClr val="FF8B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zihun54hao-xianhei" panose="00000500000000000000" pitchFamily="2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reeform 5"/>
          <p:cNvSpPr/>
          <p:nvPr/>
        </p:nvSpPr>
        <p:spPr bwMode="auto">
          <a:xfrm>
            <a:off x="1876256" y="3606452"/>
            <a:ext cx="2094363" cy="2411172"/>
          </a:xfrm>
          <a:custGeom>
            <a:avLst/>
            <a:gdLst>
              <a:gd name="T0" fmla="*/ 3312 w 3312"/>
              <a:gd name="T1" fmla="*/ 1905 h 3813"/>
              <a:gd name="T2" fmla="*/ 1654 w 3312"/>
              <a:gd name="T3" fmla="*/ 2859 h 3813"/>
              <a:gd name="T4" fmla="*/ 0 w 3312"/>
              <a:gd name="T5" fmla="*/ 3813 h 3813"/>
              <a:gd name="T6" fmla="*/ 0 w 3312"/>
              <a:gd name="T7" fmla="*/ 1905 h 3813"/>
              <a:gd name="T8" fmla="*/ 0 w 3312"/>
              <a:gd name="T9" fmla="*/ 0 h 3813"/>
              <a:gd name="T10" fmla="*/ 1654 w 3312"/>
              <a:gd name="T11" fmla="*/ 954 h 3813"/>
              <a:gd name="T12" fmla="*/ 3312 w 3312"/>
              <a:gd name="T13" fmla="*/ 1905 h 38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312" h="3813">
                <a:moveTo>
                  <a:pt x="3312" y="1905"/>
                </a:moveTo>
                <a:lnTo>
                  <a:pt x="1654" y="2859"/>
                </a:lnTo>
                <a:lnTo>
                  <a:pt x="0" y="3813"/>
                </a:lnTo>
                <a:lnTo>
                  <a:pt x="0" y="1905"/>
                </a:lnTo>
                <a:lnTo>
                  <a:pt x="0" y="0"/>
                </a:lnTo>
                <a:lnTo>
                  <a:pt x="1654" y="954"/>
                </a:lnTo>
                <a:lnTo>
                  <a:pt x="3312" y="1905"/>
                </a:lnTo>
                <a:close/>
              </a:path>
            </a:pathLst>
          </a:custGeom>
          <a:solidFill>
            <a:srgbClr val="44546A"/>
          </a:solidFill>
          <a:ln w="17463" cap="flat">
            <a:noFill/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47" name="Freeform 5"/>
          <p:cNvSpPr/>
          <p:nvPr/>
        </p:nvSpPr>
        <p:spPr bwMode="auto">
          <a:xfrm>
            <a:off x="3375711" y="1630509"/>
            <a:ext cx="2356441" cy="2712894"/>
          </a:xfrm>
          <a:custGeom>
            <a:avLst/>
            <a:gdLst>
              <a:gd name="T0" fmla="*/ 3312 w 3312"/>
              <a:gd name="T1" fmla="*/ 1905 h 3813"/>
              <a:gd name="T2" fmla="*/ 1654 w 3312"/>
              <a:gd name="T3" fmla="*/ 2859 h 3813"/>
              <a:gd name="T4" fmla="*/ 0 w 3312"/>
              <a:gd name="T5" fmla="*/ 3813 h 3813"/>
              <a:gd name="T6" fmla="*/ 0 w 3312"/>
              <a:gd name="T7" fmla="*/ 1905 h 3813"/>
              <a:gd name="T8" fmla="*/ 0 w 3312"/>
              <a:gd name="T9" fmla="*/ 0 h 3813"/>
              <a:gd name="T10" fmla="*/ 1654 w 3312"/>
              <a:gd name="T11" fmla="*/ 954 h 3813"/>
              <a:gd name="T12" fmla="*/ 3312 w 3312"/>
              <a:gd name="T13" fmla="*/ 1905 h 38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312" h="3813">
                <a:moveTo>
                  <a:pt x="3312" y="1905"/>
                </a:moveTo>
                <a:lnTo>
                  <a:pt x="1654" y="2859"/>
                </a:lnTo>
                <a:lnTo>
                  <a:pt x="0" y="3813"/>
                </a:lnTo>
                <a:lnTo>
                  <a:pt x="0" y="1905"/>
                </a:lnTo>
                <a:lnTo>
                  <a:pt x="0" y="0"/>
                </a:lnTo>
                <a:lnTo>
                  <a:pt x="1654" y="954"/>
                </a:lnTo>
                <a:lnTo>
                  <a:pt x="3312" y="1905"/>
                </a:lnTo>
                <a:close/>
              </a:path>
            </a:pathLst>
          </a:custGeom>
          <a:solidFill>
            <a:schemeClr val="bg2"/>
          </a:solidFill>
          <a:ln w="17463" cap="flat">
            <a:noFill/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3610654" y="2601184"/>
            <a:ext cx="1576073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4000" b="1" dirty="0">
                <a:solidFill>
                  <a:prstClr val="black">
                    <a:lumMod val="75000"/>
                    <a:lumOff val="2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zihun54hao-xianhei" panose="00000500000000000000" pitchFamily="2" charset="-122"/>
              </a:rPr>
              <a:t>4.2.1 </a:t>
            </a:r>
          </a:p>
        </p:txBody>
      </p:sp>
      <p:sp>
        <p:nvSpPr>
          <p:cNvPr id="9" name="任意多边形: 形状 8"/>
          <p:cNvSpPr/>
          <p:nvPr/>
        </p:nvSpPr>
        <p:spPr>
          <a:xfrm flipH="1">
            <a:off x="8316159" y="2466058"/>
            <a:ext cx="4367034" cy="4391943"/>
          </a:xfrm>
          <a:custGeom>
            <a:avLst/>
            <a:gdLst>
              <a:gd name="connsiteX0" fmla="*/ 0 w 4367034"/>
              <a:gd name="connsiteY0" fmla="*/ 0 h 4391943"/>
              <a:gd name="connsiteX1" fmla="*/ 4367034 w 4367034"/>
              <a:gd name="connsiteY1" fmla="*/ 4391943 h 4391943"/>
              <a:gd name="connsiteX2" fmla="*/ 0 w 4367034"/>
              <a:gd name="connsiteY2" fmla="*/ 4391943 h 43919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67034" h="4391943">
                <a:moveTo>
                  <a:pt x="0" y="0"/>
                </a:moveTo>
                <a:lnTo>
                  <a:pt x="4367034" y="4391943"/>
                </a:lnTo>
                <a:lnTo>
                  <a:pt x="0" y="439194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8" name="任意多边形: 形状 37"/>
          <p:cNvSpPr/>
          <p:nvPr/>
        </p:nvSpPr>
        <p:spPr>
          <a:xfrm>
            <a:off x="8316160" y="2"/>
            <a:ext cx="3875840" cy="5661947"/>
          </a:xfrm>
          <a:custGeom>
            <a:avLst/>
            <a:gdLst>
              <a:gd name="connsiteX0" fmla="*/ 1753994 w 3875840"/>
              <a:gd name="connsiteY0" fmla="*/ 0 h 5661947"/>
              <a:gd name="connsiteX1" fmla="*/ 3875840 w 3875840"/>
              <a:gd name="connsiteY1" fmla="*/ 0 h 5661947"/>
              <a:gd name="connsiteX2" fmla="*/ 3875840 w 3875840"/>
              <a:gd name="connsiteY2" fmla="*/ 966708 h 5661947"/>
              <a:gd name="connsiteX3" fmla="*/ 3083071 w 3875840"/>
              <a:gd name="connsiteY3" fmla="*/ 1763999 h 5661947"/>
              <a:gd name="connsiteX4" fmla="*/ 3875840 w 3875840"/>
              <a:gd name="connsiteY4" fmla="*/ 2561290 h 5661947"/>
              <a:gd name="connsiteX5" fmla="*/ 3875840 w 3875840"/>
              <a:gd name="connsiteY5" fmla="*/ 5661947 h 5661947"/>
              <a:gd name="connsiteX6" fmla="*/ 0 w 3875840"/>
              <a:gd name="connsiteY6" fmla="*/ 1763999 h 5661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75840" h="5661947">
                <a:moveTo>
                  <a:pt x="1753994" y="0"/>
                </a:moveTo>
                <a:lnTo>
                  <a:pt x="3875840" y="0"/>
                </a:lnTo>
                <a:lnTo>
                  <a:pt x="3875840" y="966708"/>
                </a:lnTo>
                <a:lnTo>
                  <a:pt x="3083071" y="1763999"/>
                </a:lnTo>
                <a:lnTo>
                  <a:pt x="3875840" y="2561290"/>
                </a:lnTo>
                <a:lnTo>
                  <a:pt x="3875840" y="5661947"/>
                </a:lnTo>
                <a:lnTo>
                  <a:pt x="0" y="1763999"/>
                </a:lnTo>
                <a:close/>
              </a:path>
            </a:pathLst>
          </a:custGeom>
          <a:solidFill>
            <a:schemeClr val="bg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9" name="任意多边形: 形状 38"/>
          <p:cNvSpPr/>
          <p:nvPr/>
        </p:nvSpPr>
        <p:spPr>
          <a:xfrm flipH="1">
            <a:off x="-50446" y="-36848"/>
            <a:ext cx="2950540" cy="4310240"/>
          </a:xfrm>
          <a:custGeom>
            <a:avLst/>
            <a:gdLst>
              <a:gd name="connsiteX0" fmla="*/ 1753994 w 3875840"/>
              <a:gd name="connsiteY0" fmla="*/ 0 h 5661947"/>
              <a:gd name="connsiteX1" fmla="*/ 3875840 w 3875840"/>
              <a:gd name="connsiteY1" fmla="*/ 0 h 5661947"/>
              <a:gd name="connsiteX2" fmla="*/ 3875840 w 3875840"/>
              <a:gd name="connsiteY2" fmla="*/ 966708 h 5661947"/>
              <a:gd name="connsiteX3" fmla="*/ 3083071 w 3875840"/>
              <a:gd name="connsiteY3" fmla="*/ 1763999 h 5661947"/>
              <a:gd name="connsiteX4" fmla="*/ 3875840 w 3875840"/>
              <a:gd name="connsiteY4" fmla="*/ 2561290 h 5661947"/>
              <a:gd name="connsiteX5" fmla="*/ 3875840 w 3875840"/>
              <a:gd name="connsiteY5" fmla="*/ 5661947 h 5661947"/>
              <a:gd name="connsiteX6" fmla="*/ 0 w 3875840"/>
              <a:gd name="connsiteY6" fmla="*/ 1763999 h 5661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75840" h="5661947">
                <a:moveTo>
                  <a:pt x="1753994" y="0"/>
                </a:moveTo>
                <a:lnTo>
                  <a:pt x="3875840" y="0"/>
                </a:lnTo>
                <a:lnTo>
                  <a:pt x="3875840" y="966708"/>
                </a:lnTo>
                <a:lnTo>
                  <a:pt x="3083071" y="1763999"/>
                </a:lnTo>
                <a:lnTo>
                  <a:pt x="3875840" y="2561290"/>
                </a:lnTo>
                <a:lnTo>
                  <a:pt x="3875840" y="5661947"/>
                </a:lnTo>
                <a:lnTo>
                  <a:pt x="0" y="1763999"/>
                </a:lnTo>
                <a:close/>
              </a:path>
            </a:pathLst>
          </a:cu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grpSp>
        <p:nvGrpSpPr>
          <p:cNvPr id="41" name="组合 40"/>
          <p:cNvGrpSpPr/>
          <p:nvPr/>
        </p:nvGrpSpPr>
        <p:grpSpPr>
          <a:xfrm>
            <a:off x="2790429" y="1534433"/>
            <a:ext cx="1387897" cy="1452522"/>
            <a:chOff x="2479440" y="1286144"/>
            <a:chExt cx="3256782" cy="3408428"/>
          </a:xfrm>
        </p:grpSpPr>
        <p:sp>
          <p:nvSpPr>
            <p:cNvPr id="43" name="Freeform 6"/>
            <p:cNvSpPr/>
            <p:nvPr/>
          </p:nvSpPr>
          <p:spPr bwMode="auto">
            <a:xfrm rot="20391831">
              <a:off x="2997362" y="2647009"/>
              <a:ext cx="2738860" cy="1681969"/>
            </a:xfrm>
            <a:custGeom>
              <a:avLst/>
              <a:gdLst>
                <a:gd name="T0" fmla="*/ 999 w 3312"/>
                <a:gd name="T1" fmla="*/ 0 h 2018"/>
                <a:gd name="T2" fmla="*/ 0 w 3312"/>
                <a:gd name="T3" fmla="*/ 2018 h 2018"/>
                <a:gd name="T4" fmla="*/ 3312 w 3312"/>
                <a:gd name="T5" fmla="*/ 110 h 2018"/>
                <a:gd name="T6" fmla="*/ 999 w 3312"/>
                <a:gd name="T7" fmla="*/ 0 h 2018"/>
                <a:gd name="connsiteX0" fmla="*/ 3088 w 10000"/>
                <a:gd name="connsiteY0" fmla="*/ 0 h 10059"/>
                <a:gd name="connsiteX1" fmla="*/ 0 w 10000"/>
                <a:gd name="connsiteY1" fmla="*/ 10059 h 10059"/>
                <a:gd name="connsiteX2" fmla="*/ 10000 w 10000"/>
                <a:gd name="connsiteY2" fmla="*/ 604 h 10059"/>
                <a:gd name="connsiteX3" fmla="*/ 3088 w 10000"/>
                <a:gd name="connsiteY3" fmla="*/ 0 h 10059"/>
                <a:gd name="connsiteX0-1" fmla="*/ 3064 w 10000"/>
                <a:gd name="connsiteY0-2" fmla="*/ 0 h 10079"/>
                <a:gd name="connsiteX1-3" fmla="*/ 0 w 10000"/>
                <a:gd name="connsiteY1-4" fmla="*/ 10079 h 10079"/>
                <a:gd name="connsiteX2-5" fmla="*/ 10000 w 10000"/>
                <a:gd name="connsiteY2-6" fmla="*/ 624 h 10079"/>
                <a:gd name="connsiteX3-7" fmla="*/ 3064 w 10000"/>
                <a:gd name="connsiteY3-8" fmla="*/ 0 h 10079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0000" h="10079">
                  <a:moveTo>
                    <a:pt x="3064" y="0"/>
                  </a:moveTo>
                  <a:lnTo>
                    <a:pt x="0" y="10079"/>
                  </a:lnTo>
                  <a:lnTo>
                    <a:pt x="10000" y="624"/>
                  </a:lnTo>
                  <a:lnTo>
                    <a:pt x="3064" y="0"/>
                  </a:lnTo>
                  <a:close/>
                </a:path>
              </a:pathLst>
            </a:custGeom>
            <a:solidFill>
              <a:srgbClr val="6799C4"/>
            </a:solidFill>
            <a:ln w="17463" cap="flat">
              <a:noFill/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4" name="Freeform 7"/>
            <p:cNvSpPr/>
            <p:nvPr/>
          </p:nvSpPr>
          <p:spPr bwMode="auto">
            <a:xfrm rot="20391831">
              <a:off x="2479440" y="1286144"/>
              <a:ext cx="2738860" cy="1578649"/>
            </a:xfrm>
            <a:custGeom>
              <a:avLst/>
              <a:gdLst>
                <a:gd name="T0" fmla="*/ 1015 w 3312"/>
                <a:gd name="T1" fmla="*/ 1790 h 1905"/>
                <a:gd name="T2" fmla="*/ 0 w 3312"/>
                <a:gd name="T3" fmla="*/ 0 h 1905"/>
                <a:gd name="T4" fmla="*/ 3312 w 3312"/>
                <a:gd name="T5" fmla="*/ 1905 h 1905"/>
                <a:gd name="T6" fmla="*/ 1015 w 3312"/>
                <a:gd name="T7" fmla="*/ 1790 h 1905"/>
                <a:gd name="connsiteX0" fmla="*/ 3065 w 10000"/>
                <a:gd name="connsiteY0" fmla="*/ 9459 h 10000"/>
                <a:gd name="connsiteX1" fmla="*/ 0 w 10000"/>
                <a:gd name="connsiteY1" fmla="*/ 0 h 10000"/>
                <a:gd name="connsiteX2" fmla="*/ 10000 w 10000"/>
                <a:gd name="connsiteY2" fmla="*/ 10000 h 10000"/>
                <a:gd name="connsiteX3" fmla="*/ 3065 w 10000"/>
                <a:gd name="connsiteY3" fmla="*/ 9459 h 10000"/>
                <a:gd name="connsiteX0-1" fmla="*/ 3005 w 10000"/>
                <a:gd name="connsiteY0-2" fmla="*/ 9354 h 10000"/>
                <a:gd name="connsiteX1-3" fmla="*/ 0 w 10000"/>
                <a:gd name="connsiteY1-4" fmla="*/ 0 h 10000"/>
                <a:gd name="connsiteX2-5" fmla="*/ 10000 w 10000"/>
                <a:gd name="connsiteY2-6" fmla="*/ 10000 h 10000"/>
                <a:gd name="connsiteX3-7" fmla="*/ 3005 w 10000"/>
                <a:gd name="connsiteY3-8" fmla="*/ 9354 h 10000"/>
                <a:gd name="connsiteX0-9" fmla="*/ 3053 w 10000"/>
                <a:gd name="connsiteY0-10" fmla="*/ 9438 h 10000"/>
                <a:gd name="connsiteX1-11" fmla="*/ 0 w 10000"/>
                <a:gd name="connsiteY1-12" fmla="*/ 0 h 10000"/>
                <a:gd name="connsiteX2-13" fmla="*/ 10000 w 10000"/>
                <a:gd name="connsiteY2-14" fmla="*/ 10000 h 10000"/>
                <a:gd name="connsiteX3-15" fmla="*/ 3053 w 10000"/>
                <a:gd name="connsiteY3-16" fmla="*/ 9438 h 10000"/>
                <a:gd name="connsiteX0-17" fmla="*/ 3053 w 10000"/>
                <a:gd name="connsiteY0-18" fmla="*/ 9438 h 10000"/>
                <a:gd name="connsiteX1-19" fmla="*/ 0 w 10000"/>
                <a:gd name="connsiteY1-20" fmla="*/ 0 h 10000"/>
                <a:gd name="connsiteX2-21" fmla="*/ 10000 w 10000"/>
                <a:gd name="connsiteY2-22" fmla="*/ 10000 h 10000"/>
                <a:gd name="connsiteX3-23" fmla="*/ 3053 w 10000"/>
                <a:gd name="connsiteY3-24" fmla="*/ 9438 h 10000"/>
                <a:gd name="connsiteX0-25" fmla="*/ 3053 w 10000"/>
                <a:gd name="connsiteY0-26" fmla="*/ 9438 h 10021"/>
                <a:gd name="connsiteX1-27" fmla="*/ 0 w 10000"/>
                <a:gd name="connsiteY1-28" fmla="*/ 0 h 10021"/>
                <a:gd name="connsiteX2-29" fmla="*/ 10000 w 10000"/>
                <a:gd name="connsiteY2-30" fmla="*/ 10021 h 10021"/>
                <a:gd name="connsiteX3-31" fmla="*/ 3053 w 10000"/>
                <a:gd name="connsiteY3-32" fmla="*/ 9438 h 10021"/>
                <a:gd name="connsiteX0-33" fmla="*/ 3065 w 10000"/>
                <a:gd name="connsiteY0-34" fmla="*/ 9396 h 10021"/>
                <a:gd name="connsiteX1-35" fmla="*/ 0 w 10000"/>
                <a:gd name="connsiteY1-36" fmla="*/ 0 h 10021"/>
                <a:gd name="connsiteX2-37" fmla="*/ 10000 w 10000"/>
                <a:gd name="connsiteY2-38" fmla="*/ 10021 h 10021"/>
                <a:gd name="connsiteX3-39" fmla="*/ 3065 w 10000"/>
                <a:gd name="connsiteY3-40" fmla="*/ 9396 h 10021"/>
                <a:gd name="connsiteX0-41" fmla="*/ 3038 w 10000"/>
                <a:gd name="connsiteY0-42" fmla="*/ 9396 h 10021"/>
                <a:gd name="connsiteX1-43" fmla="*/ 0 w 10000"/>
                <a:gd name="connsiteY1-44" fmla="*/ 0 h 10021"/>
                <a:gd name="connsiteX2-45" fmla="*/ 10000 w 10000"/>
                <a:gd name="connsiteY2-46" fmla="*/ 10021 h 10021"/>
                <a:gd name="connsiteX3-47" fmla="*/ 3038 w 10000"/>
                <a:gd name="connsiteY3-48" fmla="*/ 9396 h 10021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0000" h="10021">
                  <a:moveTo>
                    <a:pt x="3038" y="9396"/>
                  </a:moveTo>
                  <a:lnTo>
                    <a:pt x="0" y="0"/>
                  </a:lnTo>
                  <a:lnTo>
                    <a:pt x="10000" y="10021"/>
                  </a:lnTo>
                  <a:lnTo>
                    <a:pt x="3038" y="9396"/>
                  </a:lnTo>
                  <a:close/>
                </a:path>
              </a:pathLst>
            </a:custGeom>
            <a:solidFill>
              <a:srgbClr val="4E89BA"/>
            </a:solidFill>
            <a:ln w="17463" cap="flat">
              <a:noFill/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5" name="Freeform 8"/>
            <p:cNvSpPr/>
            <p:nvPr/>
          </p:nvSpPr>
          <p:spPr bwMode="auto">
            <a:xfrm rot="20391831">
              <a:off x="2819429" y="1541410"/>
              <a:ext cx="839355" cy="3153162"/>
            </a:xfrm>
            <a:custGeom>
              <a:avLst/>
              <a:gdLst>
                <a:gd name="T0" fmla="*/ 0 w 1015"/>
                <a:gd name="T1" fmla="*/ 0 h 3813"/>
                <a:gd name="T2" fmla="*/ 1015 w 1015"/>
                <a:gd name="T3" fmla="*/ 1790 h 3813"/>
                <a:gd name="T4" fmla="*/ 0 w 1015"/>
                <a:gd name="T5" fmla="*/ 3813 h 3813"/>
                <a:gd name="T6" fmla="*/ 0 w 1015"/>
                <a:gd name="T7" fmla="*/ 0 h 38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15" h="3813">
                  <a:moveTo>
                    <a:pt x="0" y="0"/>
                  </a:moveTo>
                  <a:lnTo>
                    <a:pt x="1015" y="1790"/>
                  </a:lnTo>
                  <a:lnTo>
                    <a:pt x="0" y="38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2529A"/>
            </a:solidFill>
            <a:ln w="17463" cap="flat">
              <a:noFill/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  <p:sp>
        <p:nvSpPr>
          <p:cNvPr id="55" name="矩形 54"/>
          <p:cNvSpPr/>
          <p:nvPr/>
        </p:nvSpPr>
        <p:spPr>
          <a:xfrm>
            <a:off x="5698362" y="2179555"/>
            <a:ext cx="3185487" cy="8925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40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思源黑体" panose="020B0400000000000000" pitchFamily="34" charset="-122"/>
              </a:rPr>
              <a:t>************</a:t>
            </a:r>
            <a:endParaRPr lang="zh-CN" altLang="en-US" sz="4000" b="1" dirty="0">
              <a:solidFill>
                <a:prstClr val="black">
                  <a:lumMod val="75000"/>
                  <a:lumOff val="2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思源黑体" panose="020B0400000000000000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文本框 15"/>
          <p:cNvSpPr txBox="1"/>
          <p:nvPr userDrawn="1"/>
        </p:nvSpPr>
        <p:spPr>
          <a:xfrm>
            <a:off x="647700" y="284262"/>
            <a:ext cx="57363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>
                <a:latin typeface="思源黑体" panose="020B0400000000000000" pitchFamily="34" charset="-122"/>
                <a:ea typeface="思源黑体" panose="020B0400000000000000" pitchFamily="34" charset="-122"/>
                <a:sym typeface="思源黑体" panose="020B0400000000000000" pitchFamily="34" charset="-122"/>
              </a:rPr>
              <a:t>二</a:t>
            </a:r>
            <a:r>
              <a:rPr lang="zh-CN" altLang="en-US" sz="2800" dirty="0" smtClean="0">
                <a:latin typeface="思源黑体" panose="020B0400000000000000" pitchFamily="34" charset="-122"/>
                <a:ea typeface="思源黑体" panose="020B0400000000000000" pitchFamily="34" charset="-122"/>
                <a:sym typeface="思源黑体" panose="020B0400000000000000" pitchFamily="34" charset="-122"/>
              </a:rPr>
              <a:t>、*********</a:t>
            </a:r>
            <a:endParaRPr lang="zh-CN" altLang="en-US" sz="2800" dirty="0">
              <a:latin typeface="思源黑体" panose="020B0400000000000000" pitchFamily="34" charset="-122"/>
              <a:ea typeface="思源黑体" panose="020B0400000000000000" pitchFamily="34" charset="-122"/>
              <a:sym typeface="思源黑体" panose="020B0400000000000000" pitchFamily="34" charset="-122"/>
            </a:endParaRPr>
          </a:p>
        </p:txBody>
      </p:sp>
      <p:sp>
        <p:nvSpPr>
          <p:cNvPr id="4" name="五边形 3"/>
          <p:cNvSpPr/>
          <p:nvPr/>
        </p:nvSpPr>
        <p:spPr>
          <a:xfrm>
            <a:off x="1045067" y="1565782"/>
            <a:ext cx="2646983" cy="712320"/>
          </a:xfrm>
          <a:custGeom>
            <a:avLst/>
            <a:gdLst/>
            <a:ahLst/>
            <a:cxnLst/>
            <a:rect l="l" t="t" r="r" b="b"/>
            <a:pathLst>
              <a:path w="3888432" h="1129027">
                <a:moveTo>
                  <a:pt x="0" y="0"/>
                </a:moveTo>
                <a:lnTo>
                  <a:pt x="3323919" y="0"/>
                </a:lnTo>
                <a:lnTo>
                  <a:pt x="3888432" y="564514"/>
                </a:lnTo>
                <a:lnTo>
                  <a:pt x="3323919" y="1129027"/>
                </a:lnTo>
                <a:lnTo>
                  <a:pt x="1006480" y="1129027"/>
                </a:lnTo>
                <a:lnTo>
                  <a:pt x="0" y="8248"/>
                </a:lnTo>
                <a:close/>
              </a:path>
            </a:pathLst>
          </a:custGeom>
          <a:solidFill>
            <a:schemeClr val="accent5">
              <a:lumMod val="10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2400" kern="0" dirty="0">
              <a:solidFill>
                <a:sysClr val="window" lastClr="FFFFFF"/>
              </a:solidFill>
              <a:latin typeface="思源黑体" panose="020B0400000000000000" pitchFamily="34" charset="-122"/>
              <a:ea typeface="思源黑体" panose="020B0400000000000000" pitchFamily="34" charset="-122"/>
              <a:sym typeface="思源黑体" panose="020B0400000000000000" pitchFamily="34" charset="-122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943353">
            <a:off x="513805" y="1776592"/>
            <a:ext cx="1938307" cy="2458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76"/>
          <p:cNvSpPr txBox="1"/>
          <p:nvPr/>
        </p:nvSpPr>
        <p:spPr>
          <a:xfrm flipH="1">
            <a:off x="1736521" y="1752665"/>
            <a:ext cx="15404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4000" b="1" i="0" u="none" strike="noStrike" kern="0" cap="none" spc="0" normalizeH="0" baseline="0">
                <a:ln w="18415" cmpd="sng">
                  <a:noFill/>
                  <a:prstDash val="solid"/>
                </a:ln>
                <a:solidFill>
                  <a:schemeClr val="bg1"/>
                </a:solidFill>
                <a:uLnTx/>
                <a:uFillTx/>
                <a:latin typeface="Agency FB" panose="020B0503020202020204" pitchFamily="34" charset="0"/>
                <a:ea typeface="微软雅黑" panose="020B0503020204020204" pitchFamily="34" charset="-122"/>
              </a:defRPr>
            </a:lvl1pPr>
          </a:lstStyle>
          <a:p>
            <a:pPr>
              <a:defRPr/>
            </a:pPr>
            <a:r>
              <a:rPr lang="en-US" altLang="zh-CN" sz="2000" dirty="0" smtClean="0">
                <a:latin typeface="微软雅黑" panose="020B0503020204020204" pitchFamily="34" charset="-122"/>
                <a:sym typeface="思源黑体" panose="020B0400000000000000" pitchFamily="34" charset="-122"/>
              </a:rPr>
              <a:t>(</a:t>
            </a:r>
            <a:r>
              <a:rPr lang="zh-CN" altLang="en-US" sz="2000" dirty="0" smtClean="0">
                <a:latin typeface="微软雅黑" panose="020B0503020204020204" pitchFamily="34" charset="-122"/>
                <a:sym typeface="思源黑体" panose="020B0400000000000000" pitchFamily="34" charset="-122"/>
              </a:rPr>
              <a:t>一</a:t>
            </a:r>
            <a:r>
              <a:rPr lang="zh-CN" altLang="en-US" sz="2000" dirty="0">
                <a:latin typeface="微软雅黑" panose="020B0503020204020204" pitchFamily="34" charset="-122"/>
                <a:sym typeface="思源黑体" panose="020B0400000000000000" pitchFamily="34" charset="-122"/>
              </a:rPr>
              <a:t>）准备 </a:t>
            </a:r>
          </a:p>
        </p:txBody>
      </p:sp>
      <p:sp>
        <p:nvSpPr>
          <p:cNvPr id="7" name="内容占位符 2"/>
          <p:cNvSpPr txBox="1"/>
          <p:nvPr/>
        </p:nvSpPr>
        <p:spPr>
          <a:xfrm>
            <a:off x="3595084" y="2894807"/>
            <a:ext cx="5001833" cy="1710749"/>
          </a:xfrm>
          <a:ln w="19050">
            <a:solidFill>
              <a:srgbClr val="FF0000">
                <a:alpha val="100000"/>
              </a:srgbClr>
            </a:solidFill>
            <a:miter/>
          </a:ln>
        </p:spPr>
        <p:txBody>
          <a:bodyPr vert="horz" wrap="square"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１*******************************。</a:t>
            </a:r>
            <a:endParaRPr lang="en-US" altLang="zh-CN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２*******************************。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909" b="32800"/>
          <a:stretch>
            <a:fillRect/>
          </a:stretch>
        </p:blipFill>
        <p:spPr>
          <a:xfrm>
            <a:off x="-1" y="-8389"/>
            <a:ext cx="12175933" cy="3674052"/>
          </a:xfrm>
          <a:prstGeom prst="rect">
            <a:avLst/>
          </a:prstGeom>
        </p:spPr>
      </p:pic>
      <p:sp>
        <p:nvSpPr>
          <p:cNvPr id="56" name="任意多边形: 形状 116"/>
          <p:cNvSpPr/>
          <p:nvPr/>
        </p:nvSpPr>
        <p:spPr>
          <a:xfrm>
            <a:off x="-9525" y="-612138"/>
            <a:ext cx="13547325" cy="7470138"/>
          </a:xfrm>
          <a:custGeom>
            <a:avLst/>
            <a:gdLst>
              <a:gd name="connsiteX0" fmla="*/ 6784541 w 13547325"/>
              <a:gd name="connsiteY0" fmla="*/ 726212 h 7470138"/>
              <a:gd name="connsiteX1" fmla="*/ 6784542 w 13547325"/>
              <a:gd name="connsiteY1" fmla="*/ 726212 h 7470138"/>
              <a:gd name="connsiteX2" fmla="*/ 0 w 13547325"/>
              <a:gd name="connsiteY2" fmla="*/ 3082491 h 7470138"/>
              <a:gd name="connsiteX3" fmla="*/ 0 w 13547325"/>
              <a:gd name="connsiteY3" fmla="*/ 3082490 h 7470138"/>
              <a:gd name="connsiteX4" fmla="*/ 9766501 w 13547325"/>
              <a:gd name="connsiteY4" fmla="*/ 0 h 7470138"/>
              <a:gd name="connsiteX5" fmla="*/ 13547325 w 13547325"/>
              <a:gd name="connsiteY5" fmla="*/ 0 h 7470138"/>
              <a:gd name="connsiteX6" fmla="*/ 13547325 w 13547325"/>
              <a:gd name="connsiteY6" fmla="*/ 457133 h 7470138"/>
              <a:gd name="connsiteX7" fmla="*/ 12201525 w 13547325"/>
              <a:gd name="connsiteY7" fmla="*/ 1006558 h 7470138"/>
              <a:gd name="connsiteX8" fmla="*/ 12201525 w 13547325"/>
              <a:gd name="connsiteY8" fmla="*/ 1012390 h 7470138"/>
              <a:gd name="connsiteX9" fmla="*/ 12201525 w 13547325"/>
              <a:gd name="connsiteY9" fmla="*/ 2876367 h 7470138"/>
              <a:gd name="connsiteX10" fmla="*/ 12201525 w 13547325"/>
              <a:gd name="connsiteY10" fmla="*/ 7470138 h 7470138"/>
              <a:gd name="connsiteX11" fmla="*/ 0 w 13547325"/>
              <a:gd name="connsiteY11" fmla="*/ 7470138 h 7470138"/>
              <a:gd name="connsiteX12" fmla="*/ 0 w 13547325"/>
              <a:gd name="connsiteY12" fmla="*/ 7205229 h 7470138"/>
              <a:gd name="connsiteX13" fmla="*/ 3727981 w 13547325"/>
              <a:gd name="connsiteY13" fmla="*/ 4458584 h 7470138"/>
              <a:gd name="connsiteX14" fmla="*/ 3759358 w 13547325"/>
              <a:gd name="connsiteY14" fmla="*/ 4445823 h 7470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3547325" h="7470138">
                <a:moveTo>
                  <a:pt x="6784541" y="726212"/>
                </a:moveTo>
                <a:lnTo>
                  <a:pt x="6784542" y="726212"/>
                </a:lnTo>
                <a:lnTo>
                  <a:pt x="0" y="3082491"/>
                </a:lnTo>
                <a:lnTo>
                  <a:pt x="0" y="3082490"/>
                </a:lnTo>
                <a:close/>
                <a:moveTo>
                  <a:pt x="9766501" y="0"/>
                </a:moveTo>
                <a:lnTo>
                  <a:pt x="13547325" y="0"/>
                </a:lnTo>
                <a:lnTo>
                  <a:pt x="13547325" y="457133"/>
                </a:lnTo>
                <a:lnTo>
                  <a:pt x="12201525" y="1006558"/>
                </a:lnTo>
                <a:lnTo>
                  <a:pt x="12201525" y="1012390"/>
                </a:lnTo>
                <a:lnTo>
                  <a:pt x="12201525" y="2876367"/>
                </a:lnTo>
                <a:lnTo>
                  <a:pt x="12201525" y="7470138"/>
                </a:lnTo>
                <a:lnTo>
                  <a:pt x="0" y="7470138"/>
                </a:lnTo>
                <a:lnTo>
                  <a:pt x="0" y="7205229"/>
                </a:lnTo>
                <a:lnTo>
                  <a:pt x="3727981" y="4458584"/>
                </a:lnTo>
                <a:lnTo>
                  <a:pt x="3759358" y="4445823"/>
                </a:lnTo>
                <a:close/>
              </a:path>
            </a:pathLst>
          </a:cu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grpSp>
        <p:nvGrpSpPr>
          <p:cNvPr id="245" name="组合 244"/>
          <p:cNvGrpSpPr/>
          <p:nvPr/>
        </p:nvGrpSpPr>
        <p:grpSpPr>
          <a:xfrm rot="20786218">
            <a:off x="-4430173" y="-5522174"/>
            <a:ext cx="13989138" cy="13241877"/>
            <a:chOff x="4892854" y="-5729600"/>
            <a:chExt cx="13778604" cy="7927330"/>
          </a:xfrm>
        </p:grpSpPr>
        <p:cxnSp>
          <p:nvCxnSpPr>
            <p:cNvPr id="202" name="直接连接符 201"/>
            <p:cNvCxnSpPr/>
            <p:nvPr/>
          </p:nvCxnSpPr>
          <p:spPr>
            <a:xfrm flipV="1">
              <a:off x="8306719" y="-2979174"/>
              <a:ext cx="10364739" cy="4992677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  <a:alpha val="1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直接连接符 204"/>
            <p:cNvCxnSpPr/>
            <p:nvPr/>
          </p:nvCxnSpPr>
          <p:spPr>
            <a:xfrm flipV="1">
              <a:off x="8223455" y="-3046257"/>
              <a:ext cx="10244930" cy="5064254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直接连接符 205"/>
            <p:cNvCxnSpPr/>
            <p:nvPr/>
          </p:nvCxnSpPr>
          <p:spPr>
            <a:xfrm flipV="1">
              <a:off x="8140189" y="-3113341"/>
              <a:ext cx="10125121" cy="5135831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直接连接符 206"/>
            <p:cNvCxnSpPr/>
            <p:nvPr/>
          </p:nvCxnSpPr>
          <p:spPr>
            <a:xfrm flipV="1">
              <a:off x="8056924" y="-3180425"/>
              <a:ext cx="10005312" cy="5207408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直接连接符 207"/>
            <p:cNvCxnSpPr/>
            <p:nvPr/>
          </p:nvCxnSpPr>
          <p:spPr>
            <a:xfrm flipV="1">
              <a:off x="7973659" y="-3247508"/>
              <a:ext cx="9885503" cy="5278985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直接连接符 208"/>
            <p:cNvCxnSpPr/>
            <p:nvPr/>
          </p:nvCxnSpPr>
          <p:spPr>
            <a:xfrm flipV="1">
              <a:off x="7890394" y="-3314592"/>
              <a:ext cx="9765694" cy="5350561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直接连接符 209"/>
            <p:cNvCxnSpPr/>
            <p:nvPr/>
          </p:nvCxnSpPr>
          <p:spPr>
            <a:xfrm flipV="1">
              <a:off x="7807130" y="-3381675"/>
              <a:ext cx="9645886" cy="5422138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直接连接符 210"/>
            <p:cNvCxnSpPr/>
            <p:nvPr/>
          </p:nvCxnSpPr>
          <p:spPr>
            <a:xfrm flipV="1">
              <a:off x="7723864" y="-3448759"/>
              <a:ext cx="9526077" cy="5493715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直接连接符 211"/>
            <p:cNvCxnSpPr/>
            <p:nvPr/>
          </p:nvCxnSpPr>
          <p:spPr>
            <a:xfrm flipV="1">
              <a:off x="7640600" y="-3515842"/>
              <a:ext cx="9406268" cy="5565292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直接连接符 212"/>
            <p:cNvCxnSpPr/>
            <p:nvPr/>
          </p:nvCxnSpPr>
          <p:spPr>
            <a:xfrm flipV="1">
              <a:off x="7557334" y="-3582926"/>
              <a:ext cx="9286459" cy="5636869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直接连接符 213"/>
            <p:cNvCxnSpPr/>
            <p:nvPr/>
          </p:nvCxnSpPr>
          <p:spPr>
            <a:xfrm flipV="1">
              <a:off x="7474069" y="-3650009"/>
              <a:ext cx="9166650" cy="5708446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直接连接符 214"/>
            <p:cNvCxnSpPr/>
            <p:nvPr/>
          </p:nvCxnSpPr>
          <p:spPr>
            <a:xfrm flipV="1">
              <a:off x="7390804" y="-3717093"/>
              <a:ext cx="9046841" cy="5780023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直接连接符 215"/>
            <p:cNvCxnSpPr/>
            <p:nvPr/>
          </p:nvCxnSpPr>
          <p:spPr>
            <a:xfrm flipV="1">
              <a:off x="7307539" y="-3784177"/>
              <a:ext cx="8927032" cy="5851600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直接连接符 216"/>
            <p:cNvCxnSpPr/>
            <p:nvPr/>
          </p:nvCxnSpPr>
          <p:spPr>
            <a:xfrm flipV="1">
              <a:off x="7224275" y="-3851260"/>
              <a:ext cx="8807223" cy="5923177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直接连接符 217"/>
            <p:cNvCxnSpPr/>
            <p:nvPr/>
          </p:nvCxnSpPr>
          <p:spPr>
            <a:xfrm flipV="1">
              <a:off x="7141009" y="-3918344"/>
              <a:ext cx="8687414" cy="5994754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直接连接符 218"/>
            <p:cNvCxnSpPr/>
            <p:nvPr/>
          </p:nvCxnSpPr>
          <p:spPr>
            <a:xfrm flipV="1">
              <a:off x="7057744" y="-3985427"/>
              <a:ext cx="8567605" cy="6066330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直接连接符 219"/>
            <p:cNvCxnSpPr/>
            <p:nvPr/>
          </p:nvCxnSpPr>
          <p:spPr>
            <a:xfrm flipV="1">
              <a:off x="6974479" y="-4052511"/>
              <a:ext cx="8447797" cy="6137908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直接连接符 220"/>
            <p:cNvCxnSpPr/>
            <p:nvPr/>
          </p:nvCxnSpPr>
          <p:spPr>
            <a:xfrm flipV="1">
              <a:off x="6891214" y="-4119594"/>
              <a:ext cx="8327988" cy="6209485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直接连接符 221"/>
            <p:cNvCxnSpPr/>
            <p:nvPr/>
          </p:nvCxnSpPr>
          <p:spPr>
            <a:xfrm flipV="1">
              <a:off x="6807950" y="-4186678"/>
              <a:ext cx="8208179" cy="6281061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直接连接符 222"/>
            <p:cNvCxnSpPr/>
            <p:nvPr/>
          </p:nvCxnSpPr>
          <p:spPr>
            <a:xfrm flipV="1">
              <a:off x="6724684" y="-4253762"/>
              <a:ext cx="8088370" cy="6352638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直接连接符 223"/>
            <p:cNvCxnSpPr/>
            <p:nvPr/>
          </p:nvCxnSpPr>
          <p:spPr>
            <a:xfrm flipV="1">
              <a:off x="6641419" y="-4320845"/>
              <a:ext cx="7968561" cy="6424215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直接连接符 224"/>
            <p:cNvCxnSpPr/>
            <p:nvPr/>
          </p:nvCxnSpPr>
          <p:spPr>
            <a:xfrm flipV="1">
              <a:off x="6558154" y="-4387929"/>
              <a:ext cx="7848752" cy="6495792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直接连接符 225"/>
            <p:cNvCxnSpPr/>
            <p:nvPr/>
          </p:nvCxnSpPr>
          <p:spPr>
            <a:xfrm flipV="1">
              <a:off x="6474889" y="-4455012"/>
              <a:ext cx="7728943" cy="6567369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7" name="直接连接符 226"/>
            <p:cNvCxnSpPr/>
            <p:nvPr/>
          </p:nvCxnSpPr>
          <p:spPr>
            <a:xfrm flipV="1">
              <a:off x="6391624" y="-4522096"/>
              <a:ext cx="7609134" cy="6638946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直接连接符 227"/>
            <p:cNvCxnSpPr/>
            <p:nvPr/>
          </p:nvCxnSpPr>
          <p:spPr>
            <a:xfrm flipV="1">
              <a:off x="6308359" y="-4589180"/>
              <a:ext cx="7489325" cy="6710523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直接连接符 228"/>
            <p:cNvCxnSpPr/>
            <p:nvPr/>
          </p:nvCxnSpPr>
          <p:spPr>
            <a:xfrm flipV="1">
              <a:off x="6225094" y="-4656263"/>
              <a:ext cx="7369516" cy="6782100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直接连接符 229"/>
            <p:cNvCxnSpPr/>
            <p:nvPr/>
          </p:nvCxnSpPr>
          <p:spPr>
            <a:xfrm flipV="1">
              <a:off x="6141829" y="-4723347"/>
              <a:ext cx="7249708" cy="6853676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直接连接符 230"/>
            <p:cNvCxnSpPr/>
            <p:nvPr/>
          </p:nvCxnSpPr>
          <p:spPr>
            <a:xfrm flipV="1">
              <a:off x="6058564" y="-4790430"/>
              <a:ext cx="7129899" cy="6925253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直接连接符 231"/>
            <p:cNvCxnSpPr/>
            <p:nvPr/>
          </p:nvCxnSpPr>
          <p:spPr>
            <a:xfrm flipV="1">
              <a:off x="5975299" y="-4857514"/>
              <a:ext cx="7010090" cy="6996830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直接连接符 232"/>
            <p:cNvCxnSpPr/>
            <p:nvPr/>
          </p:nvCxnSpPr>
          <p:spPr>
            <a:xfrm flipV="1">
              <a:off x="5892034" y="-4924597"/>
              <a:ext cx="6890281" cy="7068407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直接连接符 233"/>
            <p:cNvCxnSpPr/>
            <p:nvPr/>
          </p:nvCxnSpPr>
          <p:spPr>
            <a:xfrm flipV="1">
              <a:off x="5808769" y="-4991681"/>
              <a:ext cx="6770472" cy="7139984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直接连接符 234"/>
            <p:cNvCxnSpPr/>
            <p:nvPr/>
          </p:nvCxnSpPr>
          <p:spPr>
            <a:xfrm flipV="1">
              <a:off x="5725504" y="-5058764"/>
              <a:ext cx="6650663" cy="7211561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直接连接符 235"/>
            <p:cNvCxnSpPr/>
            <p:nvPr/>
          </p:nvCxnSpPr>
          <p:spPr>
            <a:xfrm flipV="1">
              <a:off x="5642239" y="-5125848"/>
              <a:ext cx="6530854" cy="7283138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直接连接符 236"/>
            <p:cNvCxnSpPr/>
            <p:nvPr/>
          </p:nvCxnSpPr>
          <p:spPr>
            <a:xfrm flipV="1">
              <a:off x="5558974" y="-5192931"/>
              <a:ext cx="6411045" cy="7354715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直接连接符 237"/>
            <p:cNvCxnSpPr/>
            <p:nvPr/>
          </p:nvCxnSpPr>
          <p:spPr>
            <a:xfrm flipV="1">
              <a:off x="5475709" y="-5260015"/>
              <a:ext cx="6291237" cy="7426292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直接连接符 238"/>
            <p:cNvCxnSpPr/>
            <p:nvPr/>
          </p:nvCxnSpPr>
          <p:spPr>
            <a:xfrm flipV="1">
              <a:off x="5392444" y="-5327098"/>
              <a:ext cx="6171428" cy="7497869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直接连接符 239"/>
            <p:cNvCxnSpPr/>
            <p:nvPr/>
          </p:nvCxnSpPr>
          <p:spPr>
            <a:xfrm flipV="1">
              <a:off x="5309179" y="-5394182"/>
              <a:ext cx="6051619" cy="7569446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直接连接符 240"/>
            <p:cNvCxnSpPr/>
            <p:nvPr/>
          </p:nvCxnSpPr>
          <p:spPr>
            <a:xfrm flipV="1">
              <a:off x="5225914" y="-5461265"/>
              <a:ext cx="5931810" cy="7641023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直接连接符 241"/>
            <p:cNvCxnSpPr/>
            <p:nvPr/>
          </p:nvCxnSpPr>
          <p:spPr>
            <a:xfrm flipV="1">
              <a:off x="5142649" y="-5528349"/>
              <a:ext cx="5812001" cy="7712599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直接连接符 242"/>
            <p:cNvCxnSpPr/>
            <p:nvPr/>
          </p:nvCxnSpPr>
          <p:spPr>
            <a:xfrm flipV="1">
              <a:off x="5059384" y="-5595433"/>
              <a:ext cx="5692192" cy="7784176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直接连接符 243"/>
            <p:cNvCxnSpPr/>
            <p:nvPr/>
          </p:nvCxnSpPr>
          <p:spPr>
            <a:xfrm flipV="1">
              <a:off x="4976119" y="-5662516"/>
              <a:ext cx="5572383" cy="7855753"/>
            </a:xfrm>
            <a:prstGeom prst="line">
              <a:avLst/>
            </a:prstGeom>
            <a:ln w="6350" cap="flat" cmpd="sng" algn="ctr">
              <a:solidFill>
                <a:schemeClr val="tx1">
                  <a:lumMod val="50000"/>
                  <a:lumOff val="50000"/>
                  <a:alpha val="18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直接连接符 202"/>
            <p:cNvCxnSpPr/>
            <p:nvPr/>
          </p:nvCxnSpPr>
          <p:spPr>
            <a:xfrm flipV="1">
              <a:off x="4892854" y="-5729600"/>
              <a:ext cx="5452574" cy="792733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  <a:alpha val="1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9" imgW="9525" imgH="9525" progId="TCLayout.ActiveDocument.1">
                  <p:embed/>
                </p:oleObj>
              </mc:Choice>
              <mc:Fallback>
                <p:oleObj name="think-cell Slide" r:id="rId9" imgW="9525" imgH="9525" progId="TCLayout.ActiveDocument.1">
                  <p:embed/>
                  <p:pic>
                    <p:nvPicPr>
                      <p:cNvPr id="0" name="图片 6149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 idx="4294967295"/>
          </p:nvPr>
        </p:nvSpPr>
        <p:spPr>
          <a:xfrm>
            <a:off x="2707909" y="3423097"/>
            <a:ext cx="8751995" cy="1136902"/>
          </a:xfrm>
        </p:spPr>
        <p:txBody>
          <a:bodyPr>
            <a:normAutofit/>
          </a:bodyPr>
          <a:lstStyle/>
          <a:p>
            <a:pPr algn="r"/>
            <a:r>
              <a:rPr lang="zh-CN" altLang="en-US" sz="6000" b="1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谢谢观赏！</a:t>
            </a:r>
            <a:endParaRPr lang="zh-CN" altLang="en-US" sz="6000" b="1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grpSp>
        <p:nvGrpSpPr>
          <p:cNvPr id="246" name="组合 245"/>
          <p:cNvGrpSpPr/>
          <p:nvPr/>
        </p:nvGrpSpPr>
        <p:grpSpPr>
          <a:xfrm rot="21325445">
            <a:off x="-1698226" y="-593088"/>
            <a:ext cx="15216976" cy="5764465"/>
            <a:chOff x="-1698226" y="-593088"/>
            <a:chExt cx="15216976" cy="5764465"/>
          </a:xfrm>
        </p:grpSpPr>
        <p:sp>
          <p:nvSpPr>
            <p:cNvPr id="198" name="任意多边形: 形状 197"/>
            <p:cNvSpPr/>
            <p:nvPr/>
          </p:nvSpPr>
          <p:spPr bwMode="auto">
            <a:xfrm>
              <a:off x="5967007" y="-593088"/>
              <a:ext cx="7551743" cy="2790818"/>
            </a:xfrm>
            <a:custGeom>
              <a:avLst/>
              <a:gdLst>
                <a:gd name="connsiteX0" fmla="*/ 3770919 w 7551743"/>
                <a:gd name="connsiteY0" fmla="*/ 0 h 2790818"/>
                <a:gd name="connsiteX1" fmla="*/ 7551743 w 7551743"/>
                <a:gd name="connsiteY1" fmla="*/ 0 h 2790818"/>
                <a:gd name="connsiteX2" fmla="*/ 7551743 w 7551743"/>
                <a:gd name="connsiteY2" fmla="*/ 457133 h 2790818"/>
                <a:gd name="connsiteX3" fmla="*/ 2223033 w 7551743"/>
                <a:gd name="connsiteY3" fmla="*/ 2632589 h 2790818"/>
                <a:gd name="connsiteX4" fmla="*/ 0 w 7551743"/>
                <a:gd name="connsiteY4" fmla="*/ 2790818 h 2790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51743" h="2790818">
                  <a:moveTo>
                    <a:pt x="3770919" y="0"/>
                  </a:moveTo>
                  <a:lnTo>
                    <a:pt x="7551743" y="0"/>
                  </a:lnTo>
                  <a:lnTo>
                    <a:pt x="7551743" y="457133"/>
                  </a:lnTo>
                  <a:lnTo>
                    <a:pt x="2223033" y="2632589"/>
                  </a:lnTo>
                  <a:lnTo>
                    <a:pt x="0" y="2790818"/>
                  </a:lnTo>
                  <a:close/>
                </a:path>
              </a:pathLst>
            </a:custGeom>
            <a:gradFill>
              <a:gsLst>
                <a:gs pos="5000">
                  <a:schemeClr val="accent1"/>
                </a:gs>
                <a:gs pos="100000">
                  <a:schemeClr val="accent2"/>
                </a:gs>
              </a:gsLst>
              <a:lin ang="27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  <p:sp>
          <p:nvSpPr>
            <p:cNvPr id="154" name="任意多边形: 形状 153"/>
            <p:cNvSpPr/>
            <p:nvPr/>
          </p:nvSpPr>
          <p:spPr bwMode="auto">
            <a:xfrm>
              <a:off x="-1698226" y="2013503"/>
              <a:ext cx="10004945" cy="3157874"/>
            </a:xfrm>
            <a:custGeom>
              <a:avLst/>
              <a:gdLst>
                <a:gd name="connsiteX0" fmla="*/ 0 w 7084765"/>
                <a:gd name="connsiteY0" fmla="*/ 0 h 2460546"/>
                <a:gd name="connsiteX1" fmla="*/ 7084765 w 7084765"/>
                <a:gd name="connsiteY1" fmla="*/ 0 h 2460546"/>
                <a:gd name="connsiteX2" fmla="*/ 0 w 7084765"/>
                <a:gd name="connsiteY2" fmla="*/ 2460546 h 2460546"/>
                <a:gd name="connsiteX0-1" fmla="*/ 2920180 w 10004945"/>
                <a:gd name="connsiteY0-2" fmla="*/ 0 h 3133800"/>
                <a:gd name="connsiteX1-3" fmla="*/ 10004945 w 10004945"/>
                <a:gd name="connsiteY1-4" fmla="*/ 0 h 3133800"/>
                <a:gd name="connsiteX2-5" fmla="*/ 0 w 10004945"/>
                <a:gd name="connsiteY2-6" fmla="*/ 3133800 h 3133800"/>
                <a:gd name="connsiteX3" fmla="*/ 2920180 w 10004945"/>
                <a:gd name="connsiteY3" fmla="*/ 0 h 3133800"/>
                <a:gd name="connsiteX0-7" fmla="*/ 58993 w 10004945"/>
                <a:gd name="connsiteY0-8" fmla="*/ 702526 h 3133800"/>
                <a:gd name="connsiteX1-9" fmla="*/ 10004945 w 10004945"/>
                <a:gd name="connsiteY1-10" fmla="*/ 0 h 3133800"/>
                <a:gd name="connsiteX2-11" fmla="*/ 0 w 10004945"/>
                <a:gd name="connsiteY2-12" fmla="*/ 3133800 h 3133800"/>
                <a:gd name="connsiteX3-13" fmla="*/ 58993 w 10004945"/>
                <a:gd name="connsiteY3-14" fmla="*/ 702526 h 3133800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13" y="connsiteY3-14"/>
                </a:cxn>
              </a:cxnLst>
              <a:rect l="l" t="t" r="r" b="b"/>
              <a:pathLst>
                <a:path w="10004945" h="3133800">
                  <a:moveTo>
                    <a:pt x="58993" y="702526"/>
                  </a:moveTo>
                  <a:lnTo>
                    <a:pt x="10004945" y="0"/>
                  </a:lnTo>
                  <a:lnTo>
                    <a:pt x="0" y="3133800"/>
                  </a:lnTo>
                  <a:cubicBezTo>
                    <a:pt x="0" y="2313618"/>
                    <a:pt x="58993" y="1522708"/>
                    <a:pt x="58993" y="702526"/>
                  </a:cubicBezTo>
                  <a:close/>
                </a:path>
              </a:pathLst>
            </a:custGeom>
            <a:solidFill>
              <a:srgbClr val="5ACE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 dirty="0"/>
            </a:p>
          </p:txBody>
        </p:sp>
      </p:grpSp>
      <p:pic>
        <p:nvPicPr>
          <p:cNvPr id="54" name="悠扬婉转充满希望的钢琴乐配乐音频_编号34358262">
            <a:hlinkClick r:id="" action="ppaction://media"/>
          </p:cNvPr>
          <p:cNvPicPr>
            <a:picLocks noChangeAspect="1"/>
          </p:cNvPicPr>
          <p:nvPr>
            <a:audioFile r:link="rId5"/>
            <p:extLst>
              <p:ext uri="{DAA4B4D4-6D71-4841-9C94-3DE7FCFB9230}">
                <p14:media xmlns:p14="http://schemas.microsoft.com/office/powerpoint/2010/main" r:embed="rId4">
                  <p14:fade in="250" out="250"/>
                </p14:media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-4153441" y="-1495706"/>
            <a:ext cx="609600" cy="6096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audio>
              <p:cMediaNode vol="80000" numSld="999">
                <p:cTn id="2" repeatCount="indefinite" fill="remove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4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PRESENTATION_TITLE" val="PowerPoint 演示文稿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heme/theme1.xml><?xml version="1.0" encoding="utf-8"?>
<a:theme xmlns:a="http://schemas.openxmlformats.org/drawingml/2006/main" name="Office Theme">
  <a:themeElements>
    <a:clrScheme name="自定义 677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61B83"/>
      </a:accent1>
      <a:accent2>
        <a:srgbClr val="5ACEFF"/>
      </a:accent2>
      <a:accent3>
        <a:srgbClr val="4E168E"/>
      </a:accent3>
      <a:accent4>
        <a:srgbClr val="00B4FF"/>
      </a:accent4>
      <a:accent5>
        <a:srgbClr val="0086BF"/>
      </a:accent5>
      <a:accent6>
        <a:srgbClr val="4189D7"/>
      </a:accent6>
      <a:hlink>
        <a:srgbClr val="4276AA"/>
      </a:hlink>
      <a:folHlink>
        <a:srgbClr val="BFBFBF"/>
      </a:folHlink>
    </a:clrScheme>
    <a:fontScheme name="思源黑体">
      <a:majorFont>
        <a:latin typeface="思源黑体 CN Heavy"/>
        <a:ea typeface="思源黑体"/>
        <a:cs typeface=""/>
      </a:majorFont>
      <a:minorFont>
        <a:latin typeface="思源黑体"/>
        <a:ea typeface="思源黑体"/>
        <a:cs typeface="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自定义 117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2529A"/>
      </a:accent1>
      <a:accent2>
        <a:srgbClr val="4E89BA"/>
      </a:accent2>
      <a:accent3>
        <a:srgbClr val="A5A5A5"/>
      </a:accent3>
      <a:accent4>
        <a:srgbClr val="7F7F7F"/>
      </a:accent4>
      <a:accent5>
        <a:srgbClr val="595959"/>
      </a:accent5>
      <a:accent6>
        <a:srgbClr val="3F3F3F"/>
      </a:accent6>
      <a:hlink>
        <a:srgbClr val="262626"/>
      </a:hlink>
      <a:folHlink>
        <a:srgbClr val="0C0C0C"/>
      </a:folHlink>
    </a:clrScheme>
    <a:fontScheme name="思源黑体">
      <a:majorFont>
        <a:latin typeface="思源黑体 CN Heavy"/>
        <a:ea typeface="思源黑体"/>
        <a:cs typeface=""/>
      </a:majorFont>
      <a:minorFont>
        <a:latin typeface="思源黑体"/>
        <a:ea typeface="思源黑体"/>
        <a:cs typeface="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</TotalTime>
  <Words>41</Words>
  <Application>Microsoft Office PowerPoint</Application>
  <PresentationFormat>宽屏</PresentationFormat>
  <Paragraphs>25</Paragraphs>
  <Slides>5</Slides>
  <Notes>5</Notes>
  <HiddenSlides>0</HiddenSlides>
  <MMClips>2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</vt:i4>
      </vt:variant>
    </vt:vector>
  </HeadingPairs>
  <TitlesOfParts>
    <vt:vector size="15" baseType="lpstr">
      <vt:lpstr>Montserrat</vt:lpstr>
      <vt:lpstr>zihun54hao-xianhei</vt:lpstr>
      <vt:lpstr>等线</vt:lpstr>
      <vt:lpstr>思源黑体</vt:lpstr>
      <vt:lpstr>思源黑体 CN Heavy</vt:lpstr>
      <vt:lpstr>微软雅黑</vt:lpstr>
      <vt:lpstr>Arial</vt:lpstr>
      <vt:lpstr>Office Theme</vt:lpstr>
      <vt:lpstr>1_Office Theme</vt:lpstr>
      <vt:lpstr>think-cell Slide</vt:lpstr>
      <vt:lpstr>*********</vt:lpstr>
      <vt:lpstr>PowerPoint 演示文稿</vt:lpstr>
      <vt:lpstr>PowerPoint 演示文稿</vt:lpstr>
      <vt:lpstr>PowerPoint 演示文稿</vt:lpstr>
      <vt:lpstr>谢谢观赏！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dministrator</dc:creator>
  <cp:lastModifiedBy>Lenovo</cp:lastModifiedBy>
  <cp:revision>137</cp:revision>
  <dcterms:created xsi:type="dcterms:W3CDTF">2019-07-11T04:52:00Z</dcterms:created>
  <dcterms:modified xsi:type="dcterms:W3CDTF">2021-01-15T07:20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0132</vt:lpwstr>
  </property>
</Properties>
</file>